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tags/tag62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4" r:id="rId4"/>
    <p:sldMasterId id="2147483713" r:id="rId5"/>
  </p:sldMasterIdLst>
  <p:notesMasterIdLst>
    <p:notesMasterId r:id="rId15"/>
  </p:notesMasterIdLst>
  <p:sldIdLst>
    <p:sldId id="300" r:id="rId6"/>
    <p:sldId id="299" r:id="rId7"/>
    <p:sldId id="292" r:id="rId8"/>
    <p:sldId id="298" r:id="rId9"/>
    <p:sldId id="291" r:id="rId10"/>
    <p:sldId id="288" r:id="rId11"/>
    <p:sldId id="287" r:id="rId12"/>
    <p:sldId id="293" r:id="rId13"/>
    <p:sldId id="2113417998" r:id="rId14"/>
  </p:sldIdLst>
  <p:sldSz cx="12192000" cy="6858000"/>
  <p:notesSz cx="6858000" cy="9144000"/>
  <p:embeddedFontLst>
    <p:embeddedFont>
      <p:font typeface="Avenir Next LT Pro" panose="020B0504020202020204" pitchFamily="34" charset="0"/>
      <p:regular r:id="rId16"/>
      <p:bold r:id="rId17"/>
      <p:italic r:id="rId18"/>
      <p:bold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4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51" roundtripDataSignature="AMtx7mjwUGtkSUAag9o8qQs4VZcCVcOyD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1E31"/>
    <a:srgbClr val="031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040E39-BC16-40A5-8ECD-6850BDFF7DE5}" v="1" dt="2024-01-28T20:42:47.810"/>
  </p1510:revLst>
</p1510:revInfo>
</file>

<file path=ppt/tableStyles.xml><?xml version="1.0" encoding="utf-8"?>
<a:tblStyleLst xmlns:a="http://schemas.openxmlformats.org/drawingml/2006/main" def="{301FD3C6-0930-4815-9D12-314ADCF1809C}">
  <a:tblStyle styleId="{301FD3C6-0930-4815-9D12-314ADCF1809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 b="off" i="off"/>
      <a:tcStyle>
        <a:tcBdr/>
      </a:tcStyle>
    </a:band2H>
    <a:band1V>
      <a:tcTxStyle b="off" i="off"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 b="off" i="off"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7843F06-6DF1-4019-A513-480202FCF53C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457518A-F395-4AFC-8494-67CDFF63F68D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BF5"/>
          </a:solidFill>
        </a:fill>
      </a:tcStyle>
    </a:wholeTbl>
    <a:band1H>
      <a:tcTxStyle/>
      <a:tcStyle>
        <a:tcBdr/>
        <a:fill>
          <a:solidFill>
            <a:srgbClr val="CDD4E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D4E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72"/>
  </p:normalViewPr>
  <p:slideViewPr>
    <p:cSldViewPr snapToGrid="0">
      <p:cViewPr varScale="1">
        <p:scale>
          <a:sx n="75" d="100"/>
          <a:sy n="75" d="100"/>
        </p:scale>
        <p:origin x="225" y="55"/>
      </p:cViewPr>
      <p:guideLst>
        <p:guide orient="horz" pos="146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51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57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7.fntdata"/><Relationship Id="rId56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e Lingebach" userId="8345a2a5-a067-4759-8441-be0dd7848035" providerId="ADAL" clId="{B97414C9-1B7A-492A-BF10-4F8198641CF8}"/>
    <pc:docChg chg="undo redo custSel addSld delSld modSld sldOrd replTag">
      <pc:chgData name="Dave Lingebach" userId="8345a2a5-a067-4759-8441-be0dd7848035" providerId="ADAL" clId="{B97414C9-1B7A-492A-BF10-4F8198641CF8}" dt="2023-10-24T14:10:00.810" v="1632" actId="20577"/>
      <pc:docMkLst>
        <pc:docMk/>
      </pc:docMkLst>
      <pc:sldChg chg="del">
        <pc:chgData name="Dave Lingebach" userId="8345a2a5-a067-4759-8441-be0dd7848035" providerId="ADAL" clId="{B97414C9-1B7A-492A-BF10-4F8198641CF8}" dt="2023-10-24T03:01:06.861" v="168" actId="47"/>
        <pc:sldMkLst>
          <pc:docMk/>
          <pc:sldMk cId="0" sldId="256"/>
        </pc:sldMkLst>
      </pc:sldChg>
      <pc:sldChg chg="del">
        <pc:chgData name="Dave Lingebach" userId="8345a2a5-a067-4759-8441-be0dd7848035" providerId="ADAL" clId="{B97414C9-1B7A-492A-BF10-4F8198641CF8}" dt="2023-10-24T03:01:08.892" v="169" actId="47"/>
        <pc:sldMkLst>
          <pc:docMk/>
          <pc:sldMk cId="0" sldId="257"/>
        </pc:sldMkLst>
      </pc:sldChg>
      <pc:sldChg chg="del">
        <pc:chgData name="Dave Lingebach" userId="8345a2a5-a067-4759-8441-be0dd7848035" providerId="ADAL" clId="{B97414C9-1B7A-492A-BF10-4F8198641CF8}" dt="2023-10-24T03:01:13.929" v="170" actId="47"/>
        <pc:sldMkLst>
          <pc:docMk/>
          <pc:sldMk cId="0" sldId="258"/>
        </pc:sldMkLst>
      </pc:sldChg>
      <pc:sldChg chg="del">
        <pc:chgData name="Dave Lingebach" userId="8345a2a5-a067-4759-8441-be0dd7848035" providerId="ADAL" clId="{B97414C9-1B7A-492A-BF10-4F8198641CF8}" dt="2023-10-24T03:01:28.911" v="172" actId="47"/>
        <pc:sldMkLst>
          <pc:docMk/>
          <pc:sldMk cId="0" sldId="262"/>
        </pc:sldMkLst>
      </pc:sldChg>
      <pc:sldChg chg="modSp del mod">
        <pc:chgData name="Dave Lingebach" userId="8345a2a5-a067-4759-8441-be0dd7848035" providerId="ADAL" clId="{B97414C9-1B7A-492A-BF10-4F8198641CF8}" dt="2023-10-24T03:02:06.994" v="178" actId="47"/>
        <pc:sldMkLst>
          <pc:docMk/>
          <pc:sldMk cId="0" sldId="263"/>
        </pc:sldMkLst>
        <pc:spChg chg="mod">
          <ac:chgData name="Dave Lingebach" userId="8345a2a5-a067-4759-8441-be0dd7848035" providerId="ADAL" clId="{B97414C9-1B7A-492A-BF10-4F8198641CF8}" dt="2023-10-24T02:58:46.635" v="27" actId="20577"/>
          <ac:spMkLst>
            <pc:docMk/>
            <pc:sldMk cId="0" sldId="263"/>
            <ac:spMk id="473" creationId="{00000000-0000-0000-0000-000000000000}"/>
          </ac:spMkLst>
        </pc:spChg>
      </pc:sldChg>
      <pc:sldChg chg="del">
        <pc:chgData name="Dave Lingebach" userId="8345a2a5-a067-4759-8441-be0dd7848035" providerId="ADAL" clId="{B97414C9-1B7A-492A-BF10-4F8198641CF8}" dt="2023-10-24T03:01:25.027" v="171" actId="47"/>
        <pc:sldMkLst>
          <pc:docMk/>
          <pc:sldMk cId="0" sldId="276"/>
        </pc:sldMkLst>
      </pc:sldChg>
      <pc:sldChg chg="modSp add del mod">
        <pc:chgData name="Dave Lingebach" userId="8345a2a5-a067-4759-8441-be0dd7848035" providerId="ADAL" clId="{B97414C9-1B7A-492A-BF10-4F8198641CF8}" dt="2023-10-24T03:02:10.193" v="184" actId="47"/>
        <pc:sldMkLst>
          <pc:docMk/>
          <pc:sldMk cId="0" sldId="277"/>
        </pc:sldMkLst>
        <pc:graphicFrameChg chg="mod">
          <ac:chgData name="Dave Lingebach" userId="8345a2a5-a067-4759-8441-be0dd7848035" providerId="ADAL" clId="{B97414C9-1B7A-492A-BF10-4F8198641CF8}" dt="2023-10-24T03:01:53.211" v="176"/>
          <ac:graphicFrameMkLst>
            <pc:docMk/>
            <pc:sldMk cId="0" sldId="277"/>
            <ac:graphicFrameMk id="4" creationId="{B8645B3F-E7BA-0F0B-71DD-868AAED903F8}"/>
          </ac:graphicFrameMkLst>
        </pc:graphicFrameChg>
      </pc:sldChg>
      <pc:sldChg chg="del">
        <pc:chgData name="Dave Lingebach" userId="8345a2a5-a067-4759-8441-be0dd7848035" providerId="ADAL" clId="{B97414C9-1B7A-492A-BF10-4F8198641CF8}" dt="2023-10-24T03:02:07.495" v="179" actId="47"/>
        <pc:sldMkLst>
          <pc:docMk/>
          <pc:sldMk cId="117646098" sldId="284"/>
        </pc:sldMkLst>
      </pc:sldChg>
      <pc:sldChg chg="addSp delSp modSp mod">
        <pc:chgData name="Dave Lingebach" userId="8345a2a5-a067-4759-8441-be0dd7848035" providerId="ADAL" clId="{B97414C9-1B7A-492A-BF10-4F8198641CF8}" dt="2023-10-24T14:00:05.728" v="1525" actId="208"/>
        <pc:sldMkLst>
          <pc:docMk/>
          <pc:sldMk cId="2600327463" sldId="287"/>
        </pc:sldMkLst>
        <pc:picChg chg="del">
          <ac:chgData name="Dave Lingebach" userId="8345a2a5-a067-4759-8441-be0dd7848035" providerId="ADAL" clId="{B97414C9-1B7A-492A-BF10-4F8198641CF8}" dt="2023-10-24T12:40:58.430" v="535" actId="478"/>
          <ac:picMkLst>
            <pc:docMk/>
            <pc:sldMk cId="2600327463" sldId="287"/>
            <ac:picMk id="3" creationId="{050A9358-FFA4-72CD-CF1C-8B6C2C5B77AE}"/>
          </ac:picMkLst>
        </pc:picChg>
        <pc:picChg chg="add mod">
          <ac:chgData name="Dave Lingebach" userId="8345a2a5-a067-4759-8441-be0dd7848035" providerId="ADAL" clId="{B97414C9-1B7A-492A-BF10-4F8198641CF8}" dt="2023-10-24T14:00:05.728" v="1525" actId="208"/>
          <ac:picMkLst>
            <pc:docMk/>
            <pc:sldMk cId="2600327463" sldId="287"/>
            <ac:picMk id="7" creationId="{8FC79FEF-C24F-DF25-FBDA-DA88AC20C501}"/>
          </ac:picMkLst>
        </pc:picChg>
        <pc:picChg chg="add del mod">
          <ac:chgData name="Dave Lingebach" userId="8345a2a5-a067-4759-8441-be0dd7848035" providerId="ADAL" clId="{B97414C9-1B7A-492A-BF10-4F8198641CF8}" dt="2023-10-24T13:58:46.513" v="1516" actId="478"/>
          <ac:picMkLst>
            <pc:docMk/>
            <pc:sldMk cId="2600327463" sldId="287"/>
            <ac:picMk id="8" creationId="{BA6A8299-4EC1-EDE4-033C-A55B974A95DF}"/>
          </ac:picMkLst>
        </pc:picChg>
        <pc:picChg chg="add mod">
          <ac:chgData name="Dave Lingebach" userId="8345a2a5-a067-4759-8441-be0dd7848035" providerId="ADAL" clId="{B97414C9-1B7A-492A-BF10-4F8198641CF8}" dt="2023-10-24T14:00:05.728" v="1525" actId="208"/>
          <ac:picMkLst>
            <pc:docMk/>
            <pc:sldMk cId="2600327463" sldId="287"/>
            <ac:picMk id="10" creationId="{3ACCC8F3-56AE-75F7-D4C4-25FDBE02BAC9}"/>
          </ac:picMkLst>
        </pc:picChg>
      </pc:sldChg>
      <pc:sldChg chg="addSp delSp modSp mod">
        <pc:chgData name="Dave Lingebach" userId="8345a2a5-a067-4759-8441-be0dd7848035" providerId="ADAL" clId="{B97414C9-1B7A-492A-BF10-4F8198641CF8}" dt="2023-10-24T13:56:58.739" v="1509" actId="14100"/>
        <pc:sldMkLst>
          <pc:docMk/>
          <pc:sldMk cId="2858759718" sldId="288"/>
        </pc:sldMkLst>
        <pc:spChg chg="mod">
          <ac:chgData name="Dave Lingebach" userId="8345a2a5-a067-4759-8441-be0dd7848035" providerId="ADAL" clId="{B97414C9-1B7A-492A-BF10-4F8198641CF8}" dt="2023-10-24T13:56:58.739" v="1509" actId="14100"/>
          <ac:spMkLst>
            <pc:docMk/>
            <pc:sldMk cId="2858759718" sldId="288"/>
            <ac:spMk id="2" creationId="{8172100A-A562-1914-27BF-844456F3F1C4}"/>
          </ac:spMkLst>
        </pc:spChg>
        <pc:spChg chg="del mod">
          <ac:chgData name="Dave Lingebach" userId="8345a2a5-a067-4759-8441-be0dd7848035" providerId="ADAL" clId="{B97414C9-1B7A-492A-BF10-4F8198641CF8}" dt="2023-10-24T12:39:20.049" v="531" actId="478"/>
          <ac:spMkLst>
            <pc:docMk/>
            <pc:sldMk cId="2858759718" sldId="288"/>
            <ac:spMk id="8" creationId="{70475047-628C-3007-AEAD-BAEBFC89C837}"/>
          </ac:spMkLst>
        </pc:spChg>
        <pc:spChg chg="mod">
          <ac:chgData name="Dave Lingebach" userId="8345a2a5-a067-4759-8441-be0dd7848035" providerId="ADAL" clId="{B97414C9-1B7A-492A-BF10-4F8198641CF8}" dt="2023-10-24T13:56:01.561" v="1500" actId="1036"/>
          <ac:spMkLst>
            <pc:docMk/>
            <pc:sldMk cId="2858759718" sldId="288"/>
            <ac:spMk id="516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56:01.561" v="1500" actId="1036"/>
          <ac:spMkLst>
            <pc:docMk/>
            <pc:sldMk cId="2858759718" sldId="288"/>
            <ac:spMk id="521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56:38.111" v="1508" actId="403"/>
          <ac:spMkLst>
            <pc:docMk/>
            <pc:sldMk cId="2858759718" sldId="288"/>
            <ac:spMk id="560" creationId="{00000000-0000-0000-0000-000000000000}"/>
          </ac:spMkLst>
        </pc:spChg>
        <pc:grpChg chg="mod">
          <ac:chgData name="Dave Lingebach" userId="8345a2a5-a067-4759-8441-be0dd7848035" providerId="ADAL" clId="{B97414C9-1B7A-492A-BF10-4F8198641CF8}" dt="2023-10-24T13:56:01.561" v="1500" actId="1036"/>
          <ac:grpSpMkLst>
            <pc:docMk/>
            <pc:sldMk cId="2858759718" sldId="288"/>
            <ac:grpSpMk id="5" creationId="{8834BEAC-0880-2489-D336-950232DF1749}"/>
          </ac:grpSpMkLst>
        </pc:grpChg>
        <pc:grpChg chg="mod">
          <ac:chgData name="Dave Lingebach" userId="8345a2a5-a067-4759-8441-be0dd7848035" providerId="ADAL" clId="{B97414C9-1B7A-492A-BF10-4F8198641CF8}" dt="2023-10-24T13:56:01.561" v="1500" actId="1036"/>
          <ac:grpSpMkLst>
            <pc:docMk/>
            <pc:sldMk cId="2858759718" sldId="288"/>
            <ac:grpSpMk id="563" creationId="{00000000-0000-0000-0000-000000000000}"/>
          </ac:grpSpMkLst>
        </pc:grpChg>
        <pc:grpChg chg="mod">
          <ac:chgData name="Dave Lingebach" userId="8345a2a5-a067-4759-8441-be0dd7848035" providerId="ADAL" clId="{B97414C9-1B7A-492A-BF10-4F8198641CF8}" dt="2023-10-24T13:56:01.561" v="1500" actId="1036"/>
          <ac:grpSpMkLst>
            <pc:docMk/>
            <pc:sldMk cId="2858759718" sldId="288"/>
            <ac:grpSpMk id="566" creationId="{00000000-0000-0000-0000-000000000000}"/>
          </ac:grpSpMkLst>
        </pc:grpChg>
        <pc:grpChg chg="mod">
          <ac:chgData name="Dave Lingebach" userId="8345a2a5-a067-4759-8441-be0dd7848035" providerId="ADAL" clId="{B97414C9-1B7A-492A-BF10-4F8198641CF8}" dt="2023-10-24T13:56:01.561" v="1500" actId="1036"/>
          <ac:grpSpMkLst>
            <pc:docMk/>
            <pc:sldMk cId="2858759718" sldId="288"/>
            <ac:grpSpMk id="569" creationId="{00000000-0000-0000-0000-000000000000}"/>
          </ac:grpSpMkLst>
        </pc:grpChg>
        <pc:graphicFrameChg chg="mod">
          <ac:chgData name="Dave Lingebach" userId="8345a2a5-a067-4759-8441-be0dd7848035" providerId="ADAL" clId="{B97414C9-1B7A-492A-BF10-4F8198641CF8}" dt="2023-10-24T13:56:01.578" v="1502"/>
          <ac:graphicFrameMkLst>
            <pc:docMk/>
            <pc:sldMk cId="2858759718" sldId="288"/>
            <ac:graphicFrameMk id="4" creationId="{0566E282-EE34-6477-0FBC-032EA2DF9B82}"/>
          </ac:graphicFrameMkLst>
        </pc:graphicFrameChg>
        <pc:picChg chg="add mod">
          <ac:chgData name="Dave Lingebach" userId="8345a2a5-a067-4759-8441-be0dd7848035" providerId="ADAL" clId="{B97414C9-1B7A-492A-BF10-4F8198641CF8}" dt="2023-10-24T13:56:01.561" v="1500" actId="1036"/>
          <ac:picMkLst>
            <pc:docMk/>
            <pc:sldMk cId="2858759718" sldId="288"/>
            <ac:picMk id="6" creationId="{6EFAC1CE-2ADF-3BDC-2FF8-5207F158445A}"/>
          </ac:picMkLst>
        </pc:picChg>
        <pc:picChg chg="del">
          <ac:chgData name="Dave Lingebach" userId="8345a2a5-a067-4759-8441-be0dd7848035" providerId="ADAL" clId="{B97414C9-1B7A-492A-BF10-4F8198641CF8}" dt="2023-10-24T12:40:35.261" v="534" actId="478"/>
          <ac:picMkLst>
            <pc:docMk/>
            <pc:sldMk cId="2858759718" sldId="288"/>
            <ac:picMk id="14" creationId="{AC1123DD-7284-6E08-1F97-E454A9263B97}"/>
          </ac:picMkLst>
        </pc:picChg>
      </pc:sldChg>
      <pc:sldChg chg="del">
        <pc:chgData name="Dave Lingebach" userId="8345a2a5-a067-4759-8441-be0dd7848035" providerId="ADAL" clId="{B97414C9-1B7A-492A-BF10-4F8198641CF8}" dt="2023-10-24T03:02:06.511" v="177" actId="47"/>
        <pc:sldMkLst>
          <pc:docMk/>
          <pc:sldMk cId="4029354859" sldId="289"/>
        </pc:sldMkLst>
      </pc:sldChg>
      <pc:sldChg chg="delSp modSp mod ord">
        <pc:chgData name="Dave Lingebach" userId="8345a2a5-a067-4759-8441-be0dd7848035" providerId="ADAL" clId="{B97414C9-1B7A-492A-BF10-4F8198641CF8}" dt="2023-10-24T13:56:29.961" v="1506" actId="120"/>
        <pc:sldMkLst>
          <pc:docMk/>
          <pc:sldMk cId="2447755687" sldId="291"/>
        </pc:sldMkLst>
        <pc:spChg chg="del">
          <ac:chgData name="Dave Lingebach" userId="8345a2a5-a067-4759-8441-be0dd7848035" providerId="ADAL" clId="{B97414C9-1B7A-492A-BF10-4F8198641CF8}" dt="2023-10-24T12:39:12.898" v="529" actId="478"/>
          <ac:spMkLst>
            <pc:docMk/>
            <pc:sldMk cId="2447755687" sldId="291"/>
            <ac:spMk id="3" creationId="{37E1BA9A-2905-2192-5981-C0FE855525C7}"/>
          </ac:spMkLst>
        </pc:spChg>
        <pc:spChg chg="mod">
          <ac:chgData name="Dave Lingebach" userId="8345a2a5-a067-4759-8441-be0dd7848035" providerId="ADAL" clId="{B97414C9-1B7A-492A-BF10-4F8198641CF8}" dt="2023-10-24T13:08:08.812" v="847" actId="20577"/>
          <ac:spMkLst>
            <pc:docMk/>
            <pc:sldMk cId="2447755687" sldId="291"/>
            <ac:spMk id="517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56:29.961" v="1506" actId="120"/>
          <ac:spMkLst>
            <pc:docMk/>
            <pc:sldMk cId="2447755687" sldId="291"/>
            <ac:spMk id="560" creationId="{00000000-0000-0000-0000-000000000000}"/>
          </ac:spMkLst>
        </pc:spChg>
        <pc:graphicFrameChg chg="mod">
          <ac:chgData name="Dave Lingebach" userId="8345a2a5-a067-4759-8441-be0dd7848035" providerId="ADAL" clId="{B97414C9-1B7A-492A-BF10-4F8198641CF8}" dt="2023-10-24T13:08:09.311" v="851"/>
          <ac:graphicFrameMkLst>
            <pc:docMk/>
            <pc:sldMk cId="2447755687" sldId="291"/>
            <ac:graphicFrameMk id="4" creationId="{0566E282-EE34-6477-0FBC-032EA2DF9B82}"/>
          </ac:graphicFrameMkLst>
        </pc:graphicFrameChg>
      </pc:sldChg>
      <pc:sldChg chg="addSp delSp modSp mod ord">
        <pc:chgData name="Dave Lingebach" userId="8345a2a5-a067-4759-8441-be0dd7848035" providerId="ADAL" clId="{B97414C9-1B7A-492A-BF10-4F8198641CF8}" dt="2023-10-24T13:57:12.369" v="1510" actId="14100"/>
        <pc:sldMkLst>
          <pc:docMk/>
          <pc:sldMk cId="1233163903" sldId="292"/>
        </pc:sldMkLst>
        <pc:spChg chg="mod ord">
          <ac:chgData name="Dave Lingebach" userId="8345a2a5-a067-4759-8441-be0dd7848035" providerId="ADAL" clId="{B97414C9-1B7A-492A-BF10-4F8198641CF8}" dt="2023-10-24T13:57:12.369" v="1510" actId="14100"/>
          <ac:spMkLst>
            <pc:docMk/>
            <pc:sldMk cId="1233163903" sldId="292"/>
            <ac:spMk id="2" creationId="{8172100A-A562-1914-27BF-844456F3F1C4}"/>
          </ac:spMkLst>
        </pc:spChg>
        <pc:spChg chg="add del">
          <ac:chgData name="Dave Lingebach" userId="8345a2a5-a067-4759-8441-be0dd7848035" providerId="ADAL" clId="{B97414C9-1B7A-492A-BF10-4F8198641CF8}" dt="2023-10-24T13:35:58.078" v="1158" actId="11529"/>
          <ac:spMkLst>
            <pc:docMk/>
            <pc:sldMk cId="1233163903" sldId="292"/>
            <ac:spMk id="7" creationId="{07890145-C7A8-0A6A-D3DD-9D7816F0E568}"/>
          </ac:spMkLst>
        </pc:spChg>
        <pc:spChg chg="add mod ord">
          <ac:chgData name="Dave Lingebach" userId="8345a2a5-a067-4759-8441-be0dd7848035" providerId="ADAL" clId="{B97414C9-1B7A-492A-BF10-4F8198641CF8}" dt="2023-10-24T13:38:09.645" v="1211"/>
          <ac:spMkLst>
            <pc:docMk/>
            <pc:sldMk cId="1233163903" sldId="292"/>
            <ac:spMk id="8" creationId="{29589F6F-0371-B97F-5BED-DE34E9F13683}"/>
          </ac:spMkLst>
        </pc:spChg>
        <pc:spChg chg="del">
          <ac:chgData name="Dave Lingebach" userId="8345a2a5-a067-4759-8441-be0dd7848035" providerId="ADAL" clId="{B97414C9-1B7A-492A-BF10-4F8198641CF8}" dt="2023-10-24T12:39:24.392" v="532" actId="478"/>
          <ac:spMkLst>
            <pc:docMk/>
            <pc:sldMk cId="1233163903" sldId="292"/>
            <ac:spMk id="29" creationId="{3204C88A-718D-368D-49B0-79BDBD1DAF4D}"/>
          </ac:spMkLst>
        </pc:spChg>
        <pc:spChg chg="mod ord">
          <ac:chgData name="Dave Lingebach" userId="8345a2a5-a067-4759-8441-be0dd7848035" providerId="ADAL" clId="{B97414C9-1B7A-492A-BF10-4F8198641CF8}" dt="2023-10-24T13:38:09.645" v="1229"/>
          <ac:spMkLst>
            <pc:docMk/>
            <pc:sldMk cId="1233163903" sldId="292"/>
            <ac:spMk id="30" creationId="{F5022ED6-6650-A8E8-E773-E48228E95B36}"/>
          </ac:spMkLst>
        </pc:spChg>
        <pc:spChg chg="mod ord">
          <ac:chgData name="Dave Lingebach" userId="8345a2a5-a067-4759-8441-be0dd7848035" providerId="ADAL" clId="{B97414C9-1B7A-492A-BF10-4F8198641CF8}" dt="2023-10-24T13:38:09.645" v="1213"/>
          <ac:spMkLst>
            <pc:docMk/>
            <pc:sldMk cId="1233163903" sldId="292"/>
            <ac:spMk id="516" creationId="{00000000-0000-0000-0000-000000000000}"/>
          </ac:spMkLst>
        </pc:spChg>
        <pc:spChg chg="mod ord">
          <ac:chgData name="Dave Lingebach" userId="8345a2a5-a067-4759-8441-be0dd7848035" providerId="ADAL" clId="{B97414C9-1B7A-492A-BF10-4F8198641CF8}" dt="2023-10-24T13:39:08.403" v="1238" actId="20577"/>
          <ac:spMkLst>
            <pc:docMk/>
            <pc:sldMk cId="1233163903" sldId="292"/>
            <ac:spMk id="517" creationId="{00000000-0000-0000-0000-000000000000}"/>
          </ac:spMkLst>
        </pc:spChg>
        <pc:spChg chg="mod ord">
          <ac:chgData name="Dave Lingebach" userId="8345a2a5-a067-4759-8441-be0dd7848035" providerId="ADAL" clId="{B97414C9-1B7A-492A-BF10-4F8198641CF8}" dt="2023-10-24T13:38:09.645" v="1219"/>
          <ac:spMkLst>
            <pc:docMk/>
            <pc:sldMk cId="1233163903" sldId="292"/>
            <ac:spMk id="518" creationId="{00000000-0000-0000-0000-000000000000}"/>
          </ac:spMkLst>
        </pc:spChg>
        <pc:spChg chg="mod ord">
          <ac:chgData name="Dave Lingebach" userId="8345a2a5-a067-4759-8441-be0dd7848035" providerId="ADAL" clId="{B97414C9-1B7A-492A-BF10-4F8198641CF8}" dt="2023-10-24T13:42:46.911" v="1336" actId="20577"/>
          <ac:spMkLst>
            <pc:docMk/>
            <pc:sldMk cId="1233163903" sldId="292"/>
            <ac:spMk id="560" creationId="{00000000-0000-0000-0000-000000000000}"/>
          </ac:spMkLst>
        </pc:spChg>
        <pc:grpChg chg="mod ord">
          <ac:chgData name="Dave Lingebach" userId="8345a2a5-a067-4759-8441-be0dd7848035" providerId="ADAL" clId="{B97414C9-1B7A-492A-BF10-4F8198641CF8}" dt="2023-10-24T13:38:09.645" v="1223"/>
          <ac:grpSpMkLst>
            <pc:docMk/>
            <pc:sldMk cId="1233163903" sldId="292"/>
            <ac:grpSpMk id="5" creationId="{8834BEAC-0880-2489-D336-950232DF1749}"/>
          </ac:grpSpMkLst>
        </pc:grpChg>
        <pc:grpChg chg="mod ord">
          <ac:chgData name="Dave Lingebach" userId="8345a2a5-a067-4759-8441-be0dd7848035" providerId="ADAL" clId="{B97414C9-1B7A-492A-BF10-4F8198641CF8}" dt="2023-10-24T13:38:09.645" v="1225"/>
          <ac:grpSpMkLst>
            <pc:docMk/>
            <pc:sldMk cId="1233163903" sldId="292"/>
            <ac:grpSpMk id="563" creationId="{00000000-0000-0000-0000-000000000000}"/>
          </ac:grpSpMkLst>
        </pc:grpChg>
        <pc:grpChg chg="mod ord">
          <ac:chgData name="Dave Lingebach" userId="8345a2a5-a067-4759-8441-be0dd7848035" providerId="ADAL" clId="{B97414C9-1B7A-492A-BF10-4F8198641CF8}" dt="2023-10-24T13:38:09.645" v="1227"/>
          <ac:grpSpMkLst>
            <pc:docMk/>
            <pc:sldMk cId="1233163903" sldId="292"/>
            <ac:grpSpMk id="566" creationId="{00000000-0000-0000-0000-000000000000}"/>
          </ac:grpSpMkLst>
        </pc:grpChg>
        <pc:graphicFrameChg chg="mod">
          <ac:chgData name="Dave Lingebach" userId="8345a2a5-a067-4759-8441-be0dd7848035" providerId="ADAL" clId="{B97414C9-1B7A-492A-BF10-4F8198641CF8}" dt="2023-10-24T13:39:08.928" v="1242"/>
          <ac:graphicFrameMkLst>
            <pc:docMk/>
            <pc:sldMk cId="1233163903" sldId="292"/>
            <ac:graphicFrameMk id="4" creationId="{0566E282-EE34-6477-0FBC-032EA2DF9B82}"/>
          </ac:graphicFrameMkLst>
        </pc:graphicFrameChg>
        <pc:picChg chg="add mod ord">
          <ac:chgData name="Dave Lingebach" userId="8345a2a5-a067-4759-8441-be0dd7848035" providerId="ADAL" clId="{B97414C9-1B7A-492A-BF10-4F8198641CF8}" dt="2023-10-24T13:38:32.628" v="1237" actId="1582"/>
          <ac:picMkLst>
            <pc:docMk/>
            <pc:sldMk cId="1233163903" sldId="292"/>
            <ac:picMk id="3" creationId="{C5F5C004-E1DD-3A85-33C2-843E14679B84}"/>
          </ac:picMkLst>
        </pc:picChg>
        <pc:picChg chg="add mod ord">
          <ac:chgData name="Dave Lingebach" userId="8345a2a5-a067-4759-8441-be0dd7848035" providerId="ADAL" clId="{B97414C9-1B7A-492A-BF10-4F8198641CF8}" dt="2023-10-24T13:38:32.628" v="1237" actId="1582"/>
          <ac:picMkLst>
            <pc:docMk/>
            <pc:sldMk cId="1233163903" sldId="292"/>
            <ac:picMk id="6" creationId="{9E1B2308-AC44-3D1A-9F46-01AF63352219}"/>
          </ac:picMkLst>
        </pc:picChg>
        <pc:picChg chg="del">
          <ac:chgData name="Dave Lingebach" userId="8345a2a5-a067-4759-8441-be0dd7848035" providerId="ADAL" clId="{B97414C9-1B7A-492A-BF10-4F8198641CF8}" dt="2023-10-24T12:40:20.920" v="533" actId="478"/>
          <ac:picMkLst>
            <pc:docMk/>
            <pc:sldMk cId="1233163903" sldId="292"/>
            <ac:picMk id="28" creationId="{19E32A44-CFD4-8701-1E10-D3D658111961}"/>
          </ac:picMkLst>
        </pc:picChg>
      </pc:sldChg>
      <pc:sldChg chg="addSp delSp modSp mod ord">
        <pc:chgData name="Dave Lingebach" userId="8345a2a5-a067-4759-8441-be0dd7848035" providerId="ADAL" clId="{B97414C9-1B7A-492A-BF10-4F8198641CF8}" dt="2023-10-24T13:11:25.444" v="1070" actId="20577"/>
        <pc:sldMkLst>
          <pc:docMk/>
          <pc:sldMk cId="159964209" sldId="293"/>
        </pc:sldMkLst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1" creationId="{E3F1DD80-5678-C261-7428-9B585AF4E45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4" creationId="{C8F30AE6-B2B9-4FA5-DA9C-EBCDD4787A8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5" creationId="{0A8C5943-EF6E-EFD3-230F-44F27BEE282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6" creationId="{5248D564-803D-E710-277C-878592CD769E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7" creationId="{56EB31D9-BEEF-7873-AA05-6B4CF1DEE0BE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8" creationId="{35E195AE-B5DE-18D4-D166-CA3802F4653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29" creationId="{55B10BAE-F476-0670-0024-B5D087A6808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0" creationId="{3041597E-7287-FD5B-870F-9BCF8F7848F6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2" creationId="{8F1A998A-C3B9-56DB-FF53-3BB6A9A010B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3" creationId="{12970017-CB10-EA44-5016-EAF5F7EB025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4" creationId="{80023A8A-5EC6-C872-1D52-D6657FC5F4E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5" creationId="{57D828C7-BD82-9907-BFC0-61AAC7BD87B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6" creationId="{6B63FA53-68CB-0DAD-5EDD-DFD6F60F684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7" creationId="{6E577FB4-7AA4-7031-FB26-D55EDE45330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8" creationId="{981E36F4-751E-286B-AC01-6F766441BE7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39" creationId="{0CF64FA1-8F3A-CBC8-2E3F-81DDE2F4B3D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0" creationId="{E08F61A9-BF3D-BC5A-2470-AE249881023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1" creationId="{A6DB8846-96A2-7FE9-C2C1-E49353F3000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2" creationId="{7CBCA27E-6CB5-AE70-D02F-AC6FB1EEB58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3" creationId="{76811835-2262-9ED5-66F6-76A0565DB90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4" creationId="{FAC8EDD5-DAAA-C937-BBC1-4D265871186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" creationId="{DC3181B0-AA2A-D980-D3FD-6B0178F05B2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" creationId="{61633122-3359-2094-0F94-8B101C9FDC9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" creationId="{D2440AF6-D485-711B-2638-9AA2E7D82E3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" creationId="{0DB572D2-FCF6-EE89-F848-EC5753B3C74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" creationId="{E0B38E14-0B8D-8C7E-85B5-ABC0ACB5321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" creationId="{B9439FFF-DE43-C1B6-D026-AC123589091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" creationId="{354BD6B6-81C1-B881-0CC1-5854295DAF5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" creationId="{A3A75452-FC7D-7BEB-5A8F-C7E1CB38A6A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" creationId="{F14EA92C-7CFF-528D-28A5-D4CCDCC529B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" creationId="{D0D2CFDA-994A-CA9D-AFD1-B70CF7E0D0B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" creationId="{5AD523EB-3C43-28C8-8772-677B8B1FB2A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6" creationId="{6E244971-F733-3601-4843-E00111A4728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7" creationId="{E0EE011A-8ED7-3830-B6A9-7A664A2EF52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8" creationId="{49207E59-FDB0-20E2-B3C9-C32CDCE3D27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9" creationId="{28C51075-AFDB-00F4-69B8-1D604E17AF7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60" creationId="{3B791275-7FA0-F9E4-636E-A153F9326D9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61" creationId="{CE5615FE-084E-C40D-EABB-982CDB27CE1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62" creationId="{4FE98076-2DEA-075C-5207-A38B6512626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63" creationId="{57C8224C-59B2-C59C-1E81-7D0AD341E0F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48" creationId="{6ECA07C4-608E-33C0-79A5-C9FBE6F3407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49" creationId="{168036B8-1B1A-8E32-2CE4-0D043F9364A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0" creationId="{A98E1CE8-1446-D4C1-67AA-A27F88226BA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1" creationId="{A185F607-4A20-CD35-FA75-9967E9517CA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2" creationId="{D31CEC9E-8AFF-D70D-62D1-CD514FE8C0E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3" creationId="{555EC7B0-ABBA-9F14-273D-D8E8186E49E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4" creationId="{B1D13154-04A2-3A20-1188-3906995A9B0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5" creationId="{74AF169A-E22A-C74A-E728-E72C7A96ED8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6" creationId="{41158377-AEA1-37F8-3B60-120A627539A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7" creationId="{7417DC59-FB55-6E4E-DDE6-7C5D72D3681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8" creationId="{ECB9AC35-1DCB-2811-00D0-AE996ABEF4E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59" creationId="{1C63BB0A-6DA0-B06E-DF9E-4BAE1693FB1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0" creationId="{D9C87D8E-48C6-5A15-3B24-6BD23EDD348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1" creationId="{38E49AF9-8473-3840-818D-6274523F8F1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2" creationId="{96334C72-7B08-BB1C-DF0A-3189CD968EC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3" creationId="{B0574B3C-ECD7-F8A0-957C-718BC4D7EA5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4" creationId="{24B81815-0343-97D3-AE15-A044E6692A0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5" creationId="{0AAE078F-AF9E-8DBD-3660-DBA092A301D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6" creationId="{35818603-C106-5C5C-AB41-7277FF75643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7" creationId="{C750F6E5-1A06-8AAD-D623-C2B7A6D5CF8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8" creationId="{911AAAA5-150B-109E-2941-50C286890FA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69" creationId="{2B58052C-ED81-0965-6C01-C864848D67F6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0" creationId="{81504DF5-DB45-208B-1327-891C11F59D2C}"/>
          </ac:spMkLst>
        </pc:spChg>
        <pc:spChg chg="del mod">
          <ac:chgData name="Dave Lingebach" userId="8345a2a5-a067-4759-8441-be0dd7848035" providerId="ADAL" clId="{B97414C9-1B7A-492A-BF10-4F8198641CF8}" dt="2023-10-24T03:04:19.259" v="209" actId="478"/>
          <ac:spMkLst>
            <pc:docMk/>
            <pc:sldMk cId="159964209" sldId="293"/>
            <ac:spMk id="471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2" creationId="{CE550C1E-6A20-BF1C-D0C3-74430D49692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3" creationId="{BDB4BCD8-1CAA-6358-2227-B0A6C75353B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4" creationId="{B0888474-ADCC-FBBF-2D83-6A86EF6F26A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5" creationId="{5829F76B-01B2-917D-1D4C-B66D10A8634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6" creationId="{E8087546-AEA6-C19D-3091-570DE0DBB72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7" creationId="{3D0635C8-4113-BDC3-6E04-5A04CB74E70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8" creationId="{C0F66EF5-9D93-96E1-B09D-BD3A8911DF9E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79" creationId="{3499A12F-9C4B-6ED3-5A70-1EC2F02EE76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0" creationId="{4D63F7CE-68B0-D707-41BF-21487E60D42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1" creationId="{ABE439B8-8ABB-9A41-181C-E623F626B78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2" creationId="{9665F506-9344-929A-D40F-B827A9C096D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3" creationId="{561EE7C3-37D4-C381-5122-E024A006966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4" creationId="{A87841AF-1D0E-B590-6880-0CE2BF45645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5" creationId="{6AC78AD6-72CB-3FC9-FF25-CD6283F5D7E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6" creationId="{FDEBF842-C49E-FCAA-09DD-6610757BC53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7" creationId="{1A96E777-AC41-2FCF-9086-D551F703160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8" creationId="{D7DCE077-0FFF-A92F-1610-9591AC39145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89" creationId="{C3DDE246-075A-BE0F-AC62-D1AA9E17B8A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0" creationId="{D88F1B2C-C377-B2D9-9D55-523377D6120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1" creationId="{3B9ED64D-E4A1-6F88-FB2D-F33901D6C01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2" creationId="{A6E83E58-53E1-7ED1-5381-E8F9440F7E66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3" creationId="{43362094-1DE7-6F6F-B249-10100BF701A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4" creationId="{C3B38843-1401-34FC-1CF1-B43B1BFCDD7E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5" creationId="{6F31354C-3458-87DA-54E2-BDF0377C693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6" creationId="{0032DB8E-3BC5-00D7-0A68-9C447F9B5EE6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7" creationId="{2B28A514-E80D-FD53-B125-80DA4195449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8" creationId="{7EC797C8-491E-6513-C0FC-896F0C943D2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499" creationId="{4CB2A914-64A4-71EF-DA86-4B0BA647B8B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0" creationId="{AD98A533-B628-B357-164D-FF1DCF72398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1" creationId="{BB6474DA-9D8E-FCA7-DE35-06A2A75B498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2" creationId="{408F1BE6-2650-D6A8-30FD-F207994E182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3" creationId="{D27C855C-BEB0-2D20-2E7D-44EB709E25C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4" creationId="{12504CFB-E096-3EA9-60D4-18C4C7A93D9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5" creationId="{CB731A27-4ED2-99AE-898D-FD29D39208A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6" creationId="{07A9EB00-285B-ABE8-D6C7-22DBB3BD511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7" creationId="{335EA32A-B99B-B851-8A90-C05F574860B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8" creationId="{DF4358EC-2544-F3C4-A95B-8D33250F3B56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09" creationId="{87FFDEE3-42CA-30BD-3A26-86460D5D244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0" creationId="{51E9BF4C-7B8D-88E3-2012-26746E60D40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1" creationId="{0A3977CD-B8DE-5B1A-CDC9-DF61C25E67E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2" creationId="{7E9F3C81-F6B0-F450-73E5-9F7B62C7A32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3" creationId="{0320F471-1CF9-1FE0-058C-B2F6A2B1CDE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4" creationId="{395CD907-7172-F1BA-6ED5-7B448031108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5" creationId="{719FCE6B-8CCD-0634-4312-4AED1F8C070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6" creationId="{85FB53C7-C27E-240C-9A3D-24E6EE4B0FD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7" creationId="{F14716C4-8842-AB83-2210-E4665C956E2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8" creationId="{6A09BDF5-9664-E33D-6401-6AA6E8D0BF0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19" creationId="{D9AB0B00-5204-6998-91BB-C73CF060603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0" creationId="{CD2757A0-34E1-E31C-5F89-082FA17A8D1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1" creationId="{E5731AAD-ECA3-9A32-7288-3D4F34957BF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2" creationId="{CC91E54D-D0FA-0D9B-02E3-1D10E938B35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3" creationId="{58ED8890-93BE-24E7-E68C-2AB09A1171C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24" creationId="{381BD808-060E-5D58-D9C1-FF5A07D407D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0" creationId="{A2B788F1-7A1C-C043-1FC8-26FA9783F56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1" creationId="{F2539C93-1546-3C2A-142B-4441C9DFBFD5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2" creationId="{AA512CF3-8427-10B3-5C00-2581A0E486D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3" creationId="{05CE7D2B-9FA8-E26D-F70E-9163D9D7F6E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4" creationId="{BC618960-C4A3-45F6-7BEF-FC83E1FE54D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5" creationId="{44A6D6CF-AAAF-9B77-83E5-A3560DF6F9CB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6" creationId="{3149399C-6097-5C41-E08F-1025CD210ED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7" creationId="{B3A4A18C-627B-DC7C-0513-BD07033D9D8C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8" creationId="{853B708E-494E-BEA1-A2C4-9155CFDFF10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39" creationId="{92A62D24-BC2B-29F0-6CE8-F867DDC13CE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1" creationId="{AC684277-E13D-1E43-7DE7-8D1BB2B55539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3" creationId="{23358816-E97E-E7FC-39CD-61C20EA54EF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5" creationId="{5B8CC078-447C-88E4-B396-4B8B205C147F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6" creationId="{62F4DF2A-A07E-D524-7005-667B6133E601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7" creationId="{9549EB34-7D17-78BC-621C-FBAE3C454354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8" creationId="{D20808FD-6E6B-2B6F-E5DF-22868EB28E7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49" creationId="{5A470846-8924-B58A-5879-549CD121157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0" creationId="{B2C1673E-436E-8B2A-EE6E-53D7474C4EA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1" creationId="{82F5AC9F-B30E-E669-0B1C-6F1A5243ABC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3" creationId="{071DCFB5-A28C-874C-876E-E40EB0F35FE8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4" creationId="{258892DA-5D42-F344-F4FB-7F7E7478F307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5" creationId="{AFA55066-05B5-44CC-4DA9-3B4595EA7560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6" creationId="{8AE8AA92-18F2-F15C-1CE8-51E525E9A83A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7" creationId="{7E6E9BBE-1B27-9DAC-B48C-9365FF05AFE2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8" creationId="{4A0B056F-02FB-DB2D-46E7-6C8F26FA28D3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59" creationId="{865A8482-844A-1A89-FBC1-8A9220B72C5D}"/>
          </ac:spMkLst>
        </pc:spChg>
        <pc:spChg chg="mod">
          <ac:chgData name="Dave Lingebach" userId="8345a2a5-a067-4759-8441-be0dd7848035" providerId="ADAL" clId="{B97414C9-1B7A-492A-BF10-4F8198641CF8}" dt="2023-10-24T03:02:46.161" v="187"/>
          <ac:spMkLst>
            <pc:docMk/>
            <pc:sldMk cId="159964209" sldId="293"/>
            <ac:spMk id="560" creationId="{82F4278F-FBBD-D0B9-8280-1CA7E1C7DE74}"/>
          </ac:spMkLst>
        </pc:spChg>
        <pc:spChg chg="add mod">
          <ac:chgData name="Dave Lingebach" userId="8345a2a5-a067-4759-8441-be0dd7848035" providerId="ADAL" clId="{B97414C9-1B7A-492A-BF10-4F8198641CF8}" dt="2023-10-24T13:11:25.444" v="1070" actId="20577"/>
          <ac:spMkLst>
            <pc:docMk/>
            <pc:sldMk cId="159964209" sldId="293"/>
            <ac:spMk id="562" creationId="{458CCC3C-3D6E-9EF8-FB9D-F36B56FC6AB0}"/>
          </ac:spMkLst>
        </pc:spChg>
        <pc:grpChg chg="add del mod">
          <ac:chgData name="Dave Lingebach" userId="8345a2a5-a067-4759-8441-be0dd7848035" providerId="ADAL" clId="{B97414C9-1B7A-492A-BF10-4F8198641CF8}" dt="2023-10-24T03:03:30.707" v="195" actId="21"/>
          <ac:grpSpMkLst>
            <pc:docMk/>
            <pc:sldMk cId="159964209" sldId="293"/>
            <ac:grpSpMk id="13" creationId="{FE4645CF-525B-0EB0-D3DD-294BE0543D24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15" creationId="{BD53B091-2851-615F-6FDB-BAEB8BAFEB62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16" creationId="{5B5169E5-7CFF-F6B4-0E3D-EEAB446489E6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17" creationId="{7B42020A-E953-8FAA-7519-7772905F823A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18" creationId="{48996761-EA5F-2E26-1072-78E9F8219524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20" creationId="{94042E6A-0E37-A35C-3FBA-C4E9C1B32D47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22" creationId="{94FFD48C-62BB-1407-C8B7-EF8111F868CC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23" creationId="{54520AB0-E68A-D4FD-F697-961A418CE5E4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31" creationId="{499D24F1-2999-7B39-2EF5-60F51C0E0B45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25" creationId="{2FC3922A-3975-59DD-31DD-6F030394AF28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26" creationId="{6C315BBC-335F-EC97-05B8-7CD74D5831DE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27" creationId="{F039FC68-A5B3-5E9E-F775-CFB1F571FF70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28" creationId="{C1053157-7588-0E86-0FBD-75A955525F02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29" creationId="{B2876313-46C1-4857-C6A7-ADDA4D3E131E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40" creationId="{E2F7AC08-5130-7112-48E2-1072B0462F88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42" creationId="{ADA52110-BB64-B878-D238-6199BD1DCF00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44" creationId="{D59190C8-9C04-D6A1-FFF6-07C3B231CAED}"/>
          </ac:grpSpMkLst>
        </pc:grpChg>
        <pc:grpChg chg="mod">
          <ac:chgData name="Dave Lingebach" userId="8345a2a5-a067-4759-8441-be0dd7848035" providerId="ADAL" clId="{B97414C9-1B7A-492A-BF10-4F8198641CF8}" dt="2023-10-24T03:02:46.161" v="187"/>
          <ac:grpSpMkLst>
            <pc:docMk/>
            <pc:sldMk cId="159964209" sldId="293"/>
            <ac:grpSpMk id="552" creationId="{22CDDB1D-DB11-9188-E830-1216C1818C4D}"/>
          </ac:grpSpMkLst>
        </pc:grpChg>
        <pc:graphicFrameChg chg="mod">
          <ac:chgData name="Dave Lingebach" userId="8345a2a5-a067-4759-8441-be0dd7848035" providerId="ADAL" clId="{B97414C9-1B7A-492A-BF10-4F8198641CF8}" dt="2023-10-24T03:04:19.778" v="213"/>
          <ac:graphicFrameMkLst>
            <pc:docMk/>
            <pc:sldMk cId="159964209" sldId="293"/>
            <ac:graphicFrameMk id="2" creationId="{BAEA7279-E06F-0EB6-03ED-4179669B47AF}"/>
          </ac:graphicFrameMkLst>
        </pc:graphicFrameChg>
        <pc:graphicFrameChg chg="del">
          <ac:chgData name="Dave Lingebach" userId="8345a2a5-a067-4759-8441-be0dd7848035" providerId="ADAL" clId="{B97414C9-1B7A-492A-BF10-4F8198641CF8}" dt="2023-10-24T03:02:32.974" v="185" actId="21"/>
          <ac:graphicFrameMkLst>
            <pc:docMk/>
            <pc:sldMk cId="159964209" sldId="293"/>
            <ac:graphicFrameMk id="3" creationId="{A9C3CFDF-F1FA-B7DF-BAD3-4411E071046C}"/>
          </ac:graphicFrameMkLst>
        </pc:graphicFrameChg>
        <pc:graphicFrameChg chg="mod modGraphic">
          <ac:chgData name="Dave Lingebach" userId="8345a2a5-a067-4759-8441-be0dd7848035" providerId="ADAL" clId="{B97414C9-1B7A-492A-BF10-4F8198641CF8}" dt="2023-10-24T03:03:23.096" v="194" actId="14100"/>
          <ac:graphicFrameMkLst>
            <pc:docMk/>
            <pc:sldMk cId="159964209" sldId="293"/>
            <ac:graphicFrameMk id="14" creationId="{88A09B6A-B2B9-BADB-83FA-9C50F9102CA1}"/>
          </ac:graphicFrameMkLst>
        </pc:graphicFrame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4" creationId="{8E650A2A-DB32-A3F2-FF7A-C0B9702A11C3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5" creationId="{E04245D7-09A8-CAC6-E846-FFF5652BE358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6" creationId="{97E18B97-8A0B-01A5-642F-25F8370B836B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7" creationId="{B1089707-AFF7-566B-9B1B-C500EAAC4785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8" creationId="{EFB39939-BE42-BBC6-4B75-6FC1EDB70267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9" creationId="{C6DF75AE-4541-C829-2657-A360AFC94C3C}"/>
          </ac:picMkLst>
        </pc:picChg>
        <pc:picChg chg="del">
          <ac:chgData name="Dave Lingebach" userId="8345a2a5-a067-4759-8441-be0dd7848035" providerId="ADAL" clId="{B97414C9-1B7A-492A-BF10-4F8198641CF8}" dt="2023-10-24T03:02:36.490" v="186" actId="478"/>
          <ac:picMkLst>
            <pc:docMk/>
            <pc:sldMk cId="159964209" sldId="293"/>
            <ac:picMk id="10" creationId="{36DE4D03-B64B-47D3-D5BF-FDEAF3991AC5}"/>
          </ac:picMkLst>
        </pc:picChg>
        <pc:picChg chg="mod">
          <ac:chgData name="Dave Lingebach" userId="8345a2a5-a067-4759-8441-be0dd7848035" providerId="ADAL" clId="{B97414C9-1B7A-492A-BF10-4F8198641CF8}" dt="2023-10-24T03:02:46.161" v="187"/>
          <ac:picMkLst>
            <pc:docMk/>
            <pc:sldMk cId="159964209" sldId="293"/>
            <ac:picMk id="19" creationId="{69D974D2-5184-893A-3D3D-7E59FDAAEA04}"/>
          </ac:picMkLst>
        </pc:picChg>
        <pc:picChg chg="add mod">
          <ac:chgData name="Dave Lingebach" userId="8345a2a5-a067-4759-8441-be0dd7848035" providerId="ADAL" clId="{B97414C9-1B7A-492A-BF10-4F8198641CF8}" dt="2023-10-24T03:04:47.924" v="220" actId="1076"/>
          <ac:picMkLst>
            <pc:docMk/>
            <pc:sldMk cId="159964209" sldId="293"/>
            <ac:picMk id="561" creationId="{5F661C79-4EDC-FFA7-BC62-28EF418D152C}"/>
          </ac:picMkLst>
        </pc:picChg>
      </pc:sldChg>
      <pc:sldChg chg="del">
        <pc:chgData name="Dave Lingebach" userId="8345a2a5-a067-4759-8441-be0dd7848035" providerId="ADAL" clId="{B97414C9-1B7A-492A-BF10-4F8198641CF8}" dt="2023-10-24T03:02:08.028" v="180" actId="47"/>
        <pc:sldMkLst>
          <pc:docMk/>
          <pc:sldMk cId="3648412364" sldId="294"/>
        </pc:sldMkLst>
      </pc:sldChg>
      <pc:sldChg chg="del">
        <pc:chgData name="Dave Lingebach" userId="8345a2a5-a067-4759-8441-be0dd7848035" providerId="ADAL" clId="{B97414C9-1B7A-492A-BF10-4F8198641CF8}" dt="2023-10-24T03:02:08.528" v="181" actId="47"/>
        <pc:sldMkLst>
          <pc:docMk/>
          <pc:sldMk cId="2148038725" sldId="295"/>
        </pc:sldMkLst>
      </pc:sldChg>
      <pc:sldChg chg="del">
        <pc:chgData name="Dave Lingebach" userId="8345a2a5-a067-4759-8441-be0dd7848035" providerId="ADAL" clId="{B97414C9-1B7A-492A-BF10-4F8198641CF8}" dt="2023-10-24T03:02:09.045" v="182" actId="47"/>
        <pc:sldMkLst>
          <pc:docMk/>
          <pc:sldMk cId="1897560225" sldId="296"/>
        </pc:sldMkLst>
      </pc:sldChg>
      <pc:sldChg chg="del">
        <pc:chgData name="Dave Lingebach" userId="8345a2a5-a067-4759-8441-be0dd7848035" providerId="ADAL" clId="{B97414C9-1B7A-492A-BF10-4F8198641CF8}" dt="2023-10-24T03:02:09.528" v="183" actId="47"/>
        <pc:sldMkLst>
          <pc:docMk/>
          <pc:sldMk cId="3002709258" sldId="297"/>
        </pc:sldMkLst>
      </pc:sldChg>
      <pc:sldChg chg="delSp mod">
        <pc:chgData name="Dave Lingebach" userId="8345a2a5-a067-4759-8441-be0dd7848035" providerId="ADAL" clId="{B97414C9-1B7A-492A-BF10-4F8198641CF8}" dt="2023-10-24T13:08:23.061" v="854" actId="478"/>
        <pc:sldMkLst>
          <pc:docMk/>
          <pc:sldMk cId="2283859296" sldId="298"/>
        </pc:sldMkLst>
        <pc:spChg chg="del">
          <ac:chgData name="Dave Lingebach" userId="8345a2a5-a067-4759-8441-be0dd7848035" providerId="ADAL" clId="{B97414C9-1B7A-492A-BF10-4F8198641CF8}" dt="2023-10-24T13:08:23.061" v="854" actId="478"/>
          <ac:spMkLst>
            <pc:docMk/>
            <pc:sldMk cId="2283859296" sldId="298"/>
            <ac:spMk id="4" creationId="{8C650397-6A46-4F71-C4A3-1E50BE2EA588}"/>
          </ac:spMkLst>
        </pc:spChg>
      </pc:sldChg>
      <pc:sldChg chg="addSp delSp modSp mod">
        <pc:chgData name="Dave Lingebach" userId="8345a2a5-a067-4759-8441-be0dd7848035" providerId="ADAL" clId="{B97414C9-1B7A-492A-BF10-4F8198641CF8}" dt="2023-10-24T14:10:00.810" v="1632" actId="20577"/>
        <pc:sldMkLst>
          <pc:docMk/>
          <pc:sldMk cId="3410169083" sldId="299"/>
        </pc:sldMkLst>
        <pc:spChg chg="add mod">
          <ac:chgData name="Dave Lingebach" userId="8345a2a5-a067-4759-8441-be0dd7848035" providerId="ADAL" clId="{B97414C9-1B7A-492A-BF10-4F8198641CF8}" dt="2023-10-24T13:49:28.978" v="1418" actId="948"/>
          <ac:spMkLst>
            <pc:docMk/>
            <pc:sldMk cId="3410169083" sldId="299"/>
            <ac:spMk id="10" creationId="{AD2A1867-36F9-0176-5AAF-F571548115EF}"/>
          </ac:spMkLst>
        </pc:spChg>
        <pc:spChg chg="add mod">
          <ac:chgData name="Dave Lingebach" userId="8345a2a5-a067-4759-8441-be0dd7848035" providerId="ADAL" clId="{B97414C9-1B7A-492A-BF10-4F8198641CF8}" dt="2023-10-24T13:49:28.978" v="1418" actId="948"/>
          <ac:spMkLst>
            <pc:docMk/>
            <pc:sldMk cId="3410169083" sldId="299"/>
            <ac:spMk id="11" creationId="{3D70E4E1-E39C-0163-153B-2FE836DBDB48}"/>
          </ac:spMkLst>
        </pc:spChg>
        <pc:spChg chg="add mod">
          <ac:chgData name="Dave Lingebach" userId="8345a2a5-a067-4759-8441-be0dd7848035" providerId="ADAL" clId="{B97414C9-1B7A-492A-BF10-4F8198641CF8}" dt="2023-10-24T13:49:28.978" v="1418" actId="948"/>
          <ac:spMkLst>
            <pc:docMk/>
            <pc:sldMk cId="3410169083" sldId="299"/>
            <ac:spMk id="12" creationId="{97A3FFBE-E2AC-9D3C-7878-B81F80691606}"/>
          </ac:spMkLst>
        </pc:spChg>
        <pc:spChg chg="add mod">
          <ac:chgData name="Dave Lingebach" userId="8345a2a5-a067-4759-8441-be0dd7848035" providerId="ADAL" clId="{B97414C9-1B7A-492A-BF10-4F8198641CF8}" dt="2023-10-24T13:49:28.978" v="1418" actId="948"/>
          <ac:spMkLst>
            <pc:docMk/>
            <pc:sldMk cId="3410169083" sldId="299"/>
            <ac:spMk id="13" creationId="{BFE50EB1-ECF3-849E-18AE-8354A4436AC9}"/>
          </ac:spMkLst>
        </pc:spChg>
        <pc:spChg chg="add mod">
          <ac:chgData name="Dave Lingebach" userId="8345a2a5-a067-4759-8441-be0dd7848035" providerId="ADAL" clId="{B97414C9-1B7A-492A-BF10-4F8198641CF8}" dt="2023-10-24T13:49:16.878" v="1417" actId="948"/>
          <ac:spMkLst>
            <pc:docMk/>
            <pc:sldMk cId="3410169083" sldId="299"/>
            <ac:spMk id="14" creationId="{9AB16FDE-F3FE-EB15-A3AC-A74151CAEE47}"/>
          </ac:spMkLst>
        </pc:spChg>
        <pc:spChg chg="add mod">
          <ac:chgData name="Dave Lingebach" userId="8345a2a5-a067-4759-8441-be0dd7848035" providerId="ADAL" clId="{B97414C9-1B7A-492A-BF10-4F8198641CF8}" dt="2023-10-24T13:49:16.878" v="1417" actId="948"/>
          <ac:spMkLst>
            <pc:docMk/>
            <pc:sldMk cId="3410169083" sldId="299"/>
            <ac:spMk id="15" creationId="{90684FA7-A7A8-3F21-4B10-D7ED9154C9A1}"/>
          </ac:spMkLst>
        </pc:spChg>
        <pc:spChg chg="add mod">
          <ac:chgData name="Dave Lingebach" userId="8345a2a5-a067-4759-8441-be0dd7848035" providerId="ADAL" clId="{B97414C9-1B7A-492A-BF10-4F8198641CF8}" dt="2023-10-24T13:49:16.878" v="1417" actId="948"/>
          <ac:spMkLst>
            <pc:docMk/>
            <pc:sldMk cId="3410169083" sldId="299"/>
            <ac:spMk id="16" creationId="{5F764E02-319C-0753-EED4-8196EC1FB96D}"/>
          </ac:spMkLst>
        </pc:spChg>
        <pc:spChg chg="add mod">
          <ac:chgData name="Dave Lingebach" userId="8345a2a5-a067-4759-8441-be0dd7848035" providerId="ADAL" clId="{B97414C9-1B7A-492A-BF10-4F8198641CF8}" dt="2023-10-24T13:49:16.878" v="1417" actId="948"/>
          <ac:spMkLst>
            <pc:docMk/>
            <pc:sldMk cId="3410169083" sldId="299"/>
            <ac:spMk id="17" creationId="{5655680F-A27B-7DD9-86D7-F5878406E4E7}"/>
          </ac:spMkLst>
        </pc:spChg>
        <pc:spChg chg="mod">
          <ac:chgData name="Dave Lingebach" userId="8345a2a5-a067-4759-8441-be0dd7848035" providerId="ADAL" clId="{B97414C9-1B7A-492A-BF10-4F8198641CF8}" dt="2023-10-24T13:39:57.012" v="1301" actId="5793"/>
          <ac:spMkLst>
            <pc:docMk/>
            <pc:sldMk cId="3410169083" sldId="299"/>
            <ac:spMk id="471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03:06:29.678" v="225"/>
          <ac:spMkLst>
            <pc:docMk/>
            <pc:sldMk cId="3410169083" sldId="299"/>
            <ac:spMk id="473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03:06:39.261" v="226"/>
          <ac:spMkLst>
            <pc:docMk/>
            <pc:sldMk cId="3410169083" sldId="299"/>
            <ac:spMk id="474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03:07:00.933" v="235" actId="20577"/>
          <ac:spMkLst>
            <pc:docMk/>
            <pc:sldMk cId="3410169083" sldId="299"/>
            <ac:spMk id="475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03:07:10.778" v="236"/>
          <ac:spMkLst>
            <pc:docMk/>
            <pc:sldMk cId="3410169083" sldId="299"/>
            <ac:spMk id="476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9:28.978" v="1418" actId="948"/>
          <ac:spMkLst>
            <pc:docMk/>
            <pc:sldMk cId="3410169083" sldId="299"/>
            <ac:spMk id="477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4:08:47.195" v="1610" actId="20577"/>
          <ac:spMkLst>
            <pc:docMk/>
            <pc:sldMk cId="3410169083" sldId="299"/>
            <ac:spMk id="479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8:22.245" v="1411" actId="404"/>
          <ac:spMkLst>
            <pc:docMk/>
            <pc:sldMk cId="3410169083" sldId="299"/>
            <ac:spMk id="480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4:08:34.611" v="1601" actId="20577"/>
          <ac:spMkLst>
            <pc:docMk/>
            <pc:sldMk cId="3410169083" sldId="299"/>
            <ac:spMk id="482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8:41.252" v="1414" actId="27107"/>
          <ac:spMkLst>
            <pc:docMk/>
            <pc:sldMk cId="3410169083" sldId="299"/>
            <ac:spMk id="483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4:08:26.149" v="1593" actId="20577"/>
          <ac:spMkLst>
            <pc:docMk/>
            <pc:sldMk cId="3410169083" sldId="299"/>
            <ac:spMk id="485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8:22.245" v="1411" actId="404"/>
          <ac:spMkLst>
            <pc:docMk/>
            <pc:sldMk cId="3410169083" sldId="299"/>
            <ac:spMk id="486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6:30.595" v="1372" actId="14100"/>
          <ac:spMkLst>
            <pc:docMk/>
            <pc:sldMk cId="3410169083" sldId="299"/>
            <ac:spMk id="487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4:08:11.999" v="1585" actId="20577"/>
          <ac:spMkLst>
            <pc:docMk/>
            <pc:sldMk cId="3410169083" sldId="299"/>
            <ac:spMk id="488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8:22.245" v="1411" actId="404"/>
          <ac:spMkLst>
            <pc:docMk/>
            <pc:sldMk cId="3410169083" sldId="299"/>
            <ac:spMk id="489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3:49:16.878" v="1417" actId="948"/>
          <ac:spMkLst>
            <pc:docMk/>
            <pc:sldMk cId="3410169083" sldId="299"/>
            <ac:spMk id="492" creationId="{00000000-0000-0000-0000-000000000000}"/>
          </ac:spMkLst>
        </pc:spChg>
        <pc:spChg chg="mod">
          <ac:chgData name="Dave Lingebach" userId="8345a2a5-a067-4759-8441-be0dd7848035" providerId="ADAL" clId="{B97414C9-1B7A-492A-BF10-4F8198641CF8}" dt="2023-10-24T14:10:00.810" v="1632" actId="20577"/>
          <ac:spMkLst>
            <pc:docMk/>
            <pc:sldMk cId="3410169083" sldId="299"/>
            <ac:spMk id="493" creationId="{00000000-0000-0000-0000-000000000000}"/>
          </ac:spMkLst>
        </pc:spChg>
        <pc:grpChg chg="mod">
          <ac:chgData name="Dave Lingebach" userId="8345a2a5-a067-4759-8441-be0dd7848035" providerId="ADAL" clId="{B97414C9-1B7A-492A-BF10-4F8198641CF8}" dt="2023-10-24T13:46:30.595" v="1372" actId="14100"/>
          <ac:grpSpMkLst>
            <pc:docMk/>
            <pc:sldMk cId="3410169083" sldId="299"/>
            <ac:grpSpMk id="3" creationId="{B25E4EB2-3743-37B6-4564-C0CE4D783DF3}"/>
          </ac:grpSpMkLst>
        </pc:grpChg>
        <pc:graphicFrameChg chg="mod">
          <ac:chgData name="Dave Lingebach" userId="8345a2a5-a067-4759-8441-be0dd7848035" providerId="ADAL" clId="{B97414C9-1B7A-492A-BF10-4F8198641CF8}" dt="2023-10-24T13:39:57.528" v="1305"/>
          <ac:graphicFrameMkLst>
            <pc:docMk/>
            <pc:sldMk cId="3410169083" sldId="299"/>
            <ac:graphicFrameMk id="2" creationId="{79FBE254-2CF3-CF14-5662-9F4EF29C6D94}"/>
          </ac:graphicFrameMkLst>
        </pc:graphicFrameChg>
        <pc:picChg chg="add del">
          <ac:chgData name="Dave Lingebach" userId="8345a2a5-a067-4759-8441-be0dd7848035" providerId="ADAL" clId="{B97414C9-1B7A-492A-BF10-4F8198641CF8}" dt="2023-10-24T12:36:27.217" v="286" actId="478"/>
          <ac:picMkLst>
            <pc:docMk/>
            <pc:sldMk cId="3410169083" sldId="299"/>
            <ac:picMk id="4" creationId="{4C9FCE11-69DE-C3F4-520C-F2926FEDB563}"/>
          </ac:picMkLst>
        </pc:picChg>
        <pc:picChg chg="add del">
          <ac:chgData name="Dave Lingebach" userId="8345a2a5-a067-4759-8441-be0dd7848035" providerId="ADAL" clId="{B97414C9-1B7A-492A-BF10-4F8198641CF8}" dt="2023-10-24T12:36:26.611" v="285" actId="478"/>
          <ac:picMkLst>
            <pc:docMk/>
            <pc:sldMk cId="3410169083" sldId="299"/>
            <ac:picMk id="5" creationId="{AE45846B-D955-D0C6-8099-A4E357C38E17}"/>
          </ac:picMkLst>
        </pc:picChg>
        <pc:picChg chg="add del">
          <ac:chgData name="Dave Lingebach" userId="8345a2a5-a067-4759-8441-be0dd7848035" providerId="ADAL" clId="{B97414C9-1B7A-492A-BF10-4F8198641CF8}" dt="2023-10-24T12:36:25.894" v="284" actId="478"/>
          <ac:picMkLst>
            <pc:docMk/>
            <pc:sldMk cId="3410169083" sldId="299"/>
            <ac:picMk id="6" creationId="{78863C54-2376-1E5B-6FB7-C48C3D78C2FF}"/>
          </ac:picMkLst>
        </pc:picChg>
        <pc:picChg chg="add del">
          <ac:chgData name="Dave Lingebach" userId="8345a2a5-a067-4759-8441-be0dd7848035" providerId="ADAL" clId="{B97414C9-1B7A-492A-BF10-4F8198641CF8}" dt="2023-10-24T12:36:25.361" v="283" actId="478"/>
          <ac:picMkLst>
            <pc:docMk/>
            <pc:sldMk cId="3410169083" sldId="299"/>
            <ac:picMk id="7" creationId="{4BAAA618-957C-6F8B-DBC3-0E3AAAB5CC02}"/>
          </ac:picMkLst>
        </pc:picChg>
        <pc:picChg chg="add del">
          <ac:chgData name="Dave Lingebach" userId="8345a2a5-a067-4759-8441-be0dd7848035" providerId="ADAL" clId="{B97414C9-1B7A-492A-BF10-4F8198641CF8}" dt="2023-10-24T12:36:15.161" v="282" actId="478"/>
          <ac:picMkLst>
            <pc:docMk/>
            <pc:sldMk cId="3410169083" sldId="299"/>
            <ac:picMk id="8" creationId="{3772D126-D17A-C24C-368B-6C0A215A8AE5}"/>
          </ac:picMkLst>
        </pc:picChg>
        <pc:picChg chg="add mod">
          <ac:chgData name="Dave Lingebach" userId="8345a2a5-a067-4759-8441-be0dd7848035" providerId="ADAL" clId="{B97414C9-1B7A-492A-BF10-4F8198641CF8}" dt="2023-10-24T14:04:07.545" v="1566" actId="1036"/>
          <ac:picMkLst>
            <pc:docMk/>
            <pc:sldMk cId="3410169083" sldId="299"/>
            <ac:picMk id="18" creationId="{14FA429C-D348-00F6-8771-400B9890DD54}"/>
          </ac:picMkLst>
        </pc:picChg>
        <pc:picChg chg="add mod">
          <ac:chgData name="Dave Lingebach" userId="8345a2a5-a067-4759-8441-be0dd7848035" providerId="ADAL" clId="{B97414C9-1B7A-492A-BF10-4F8198641CF8}" dt="2023-10-24T14:04:07.545" v="1566" actId="1036"/>
          <ac:picMkLst>
            <pc:docMk/>
            <pc:sldMk cId="3410169083" sldId="299"/>
            <ac:picMk id="19" creationId="{912A3CC6-B997-988E-ADEE-AB3416847C41}"/>
          </ac:picMkLst>
        </pc:picChg>
        <pc:picChg chg="add mod">
          <ac:chgData name="Dave Lingebach" userId="8345a2a5-a067-4759-8441-be0dd7848035" providerId="ADAL" clId="{B97414C9-1B7A-492A-BF10-4F8198641CF8}" dt="2023-10-24T14:04:07.545" v="1566" actId="1036"/>
          <ac:picMkLst>
            <pc:docMk/>
            <pc:sldMk cId="3410169083" sldId="299"/>
            <ac:picMk id="20" creationId="{73814E1A-400E-22CC-68E6-A54F398B792E}"/>
          </ac:picMkLst>
        </pc:picChg>
        <pc:picChg chg="add mod">
          <ac:chgData name="Dave Lingebach" userId="8345a2a5-a067-4759-8441-be0dd7848035" providerId="ADAL" clId="{B97414C9-1B7A-492A-BF10-4F8198641CF8}" dt="2023-10-24T14:04:07.545" v="1566" actId="1036"/>
          <ac:picMkLst>
            <pc:docMk/>
            <pc:sldMk cId="3410169083" sldId="299"/>
            <ac:picMk id="21" creationId="{6C8974AC-5633-2F4E-FDC4-ED9C08387DEB}"/>
          </ac:picMkLst>
        </pc:picChg>
        <pc:picChg chg="add mod">
          <ac:chgData name="Dave Lingebach" userId="8345a2a5-a067-4759-8441-be0dd7848035" providerId="ADAL" clId="{B97414C9-1B7A-492A-BF10-4F8198641CF8}" dt="2023-10-24T14:04:07.545" v="1566" actId="1036"/>
          <ac:picMkLst>
            <pc:docMk/>
            <pc:sldMk cId="3410169083" sldId="299"/>
            <ac:picMk id="22" creationId="{A0D0BF46-7177-53F4-1987-2FF94EEBCA70}"/>
          </ac:picMkLst>
        </pc:picChg>
      </pc:sldChg>
      <pc:sldChg chg="addSp delSp modSp mod">
        <pc:chgData name="Dave Lingebach" userId="8345a2a5-a067-4759-8441-be0dd7848035" providerId="ADAL" clId="{B97414C9-1B7A-492A-BF10-4F8198641CF8}" dt="2023-10-24T03:01:03.595" v="167"/>
        <pc:sldMkLst>
          <pc:docMk/>
          <pc:sldMk cId="1906600233" sldId="300"/>
        </pc:sldMkLst>
        <pc:spChg chg="mod">
          <ac:chgData name="Dave Lingebach" userId="8345a2a5-a067-4759-8441-be0dd7848035" providerId="ADAL" clId="{B97414C9-1B7A-492A-BF10-4F8198641CF8}" dt="2023-10-24T03:01:03.561" v="141" actId="948"/>
          <ac:spMkLst>
            <pc:docMk/>
            <pc:sldMk cId="1906600233" sldId="300"/>
            <ac:spMk id="2" creationId="{D2592C9A-2923-003D-E7DB-2FC9C158B534}"/>
          </ac:spMkLst>
        </pc:spChg>
        <pc:spChg chg="add del mod modVis">
          <ac:chgData name="Dave Lingebach" userId="8345a2a5-a067-4759-8441-be0dd7848035" providerId="ADAL" clId="{B97414C9-1B7A-492A-BF10-4F8198641CF8}" dt="2023-10-24T03:00:50.505" v="53"/>
          <ac:spMkLst>
            <pc:docMk/>
            <pc:sldMk cId="1906600233" sldId="300"/>
            <ac:spMk id="3" creationId="{8EC7ED15-AC2F-D3EB-00B2-86554A830681}"/>
          </ac:spMkLst>
        </pc:spChg>
        <pc:spChg chg="add del mod modVis">
          <ac:chgData name="Dave Lingebach" userId="8345a2a5-a067-4759-8441-be0dd7848035" providerId="ADAL" clId="{B97414C9-1B7A-492A-BF10-4F8198641CF8}" dt="2023-10-24T03:00:55.228" v="81"/>
          <ac:spMkLst>
            <pc:docMk/>
            <pc:sldMk cId="1906600233" sldId="300"/>
            <ac:spMk id="6" creationId="{867E24E4-EC4F-B304-D302-416C95574FA8}"/>
          </ac:spMkLst>
        </pc:spChg>
        <pc:spChg chg="add del mod modVis">
          <ac:chgData name="Dave Lingebach" userId="8345a2a5-a067-4759-8441-be0dd7848035" providerId="ADAL" clId="{B97414C9-1B7A-492A-BF10-4F8198641CF8}" dt="2023-10-24T03:00:56.878" v="109"/>
          <ac:spMkLst>
            <pc:docMk/>
            <pc:sldMk cId="1906600233" sldId="300"/>
            <ac:spMk id="7" creationId="{5CD9FC7D-AE03-5BC7-49CF-B39DA7D8FC07}"/>
          </ac:spMkLst>
        </pc:spChg>
        <pc:spChg chg="add del mod modVis">
          <ac:chgData name="Dave Lingebach" userId="8345a2a5-a067-4759-8441-be0dd7848035" providerId="ADAL" clId="{B97414C9-1B7A-492A-BF10-4F8198641CF8}" dt="2023-10-24T03:00:58.194" v="137"/>
          <ac:spMkLst>
            <pc:docMk/>
            <pc:sldMk cId="1906600233" sldId="300"/>
            <ac:spMk id="8" creationId="{D53E5DB6-5A95-F282-F51E-3513EC2FB58A}"/>
          </ac:spMkLst>
        </pc:spChg>
        <pc:spChg chg="add del mod modVis">
          <ac:chgData name="Dave Lingebach" userId="8345a2a5-a067-4759-8441-be0dd7848035" providerId="ADAL" clId="{B97414C9-1B7A-492A-BF10-4F8198641CF8}" dt="2023-10-24T03:01:03.595" v="165"/>
          <ac:spMkLst>
            <pc:docMk/>
            <pc:sldMk cId="1906600233" sldId="300"/>
            <ac:spMk id="9" creationId="{380EC475-AFE3-2E55-A7EA-FB05032FAB6D}"/>
          </ac:spMkLst>
        </pc:spChg>
        <pc:graphicFrameChg chg="mod">
          <ac:chgData name="Dave Lingebach" userId="8345a2a5-a067-4759-8441-be0dd7848035" providerId="ADAL" clId="{B97414C9-1B7A-492A-BF10-4F8198641CF8}" dt="2023-10-24T03:01:03.595" v="167"/>
          <ac:graphicFrameMkLst>
            <pc:docMk/>
            <pc:sldMk cId="1906600233" sldId="300"/>
            <ac:graphicFrameMk id="5" creationId="{2ABE25E8-B4A0-CAA0-D833-DEAC6A217AA5}"/>
          </ac:graphicFrameMkLst>
        </pc:graphicFrameChg>
      </pc:sldChg>
      <pc:sldChg chg="add del">
        <pc:chgData name="Dave Lingebach" userId="8345a2a5-a067-4759-8441-be0dd7848035" providerId="ADAL" clId="{B97414C9-1B7A-492A-BF10-4F8198641CF8}" dt="2023-10-24T14:00:48.728" v="1528"/>
        <pc:sldMkLst>
          <pc:docMk/>
          <pc:sldMk cId="1341879464" sldId="301"/>
        </pc:sldMkLst>
      </pc:sldChg>
      <pc:sldMasterChg chg="addSldLayout delSldLayout">
        <pc:chgData name="Dave Lingebach" userId="8345a2a5-a067-4759-8441-be0dd7848035" providerId="ADAL" clId="{B97414C9-1B7A-492A-BF10-4F8198641CF8}" dt="2023-10-24T03:02:10.193" v="184" actId="47"/>
        <pc:sldMasterMkLst>
          <pc:docMk/>
          <pc:sldMasterMk cId="2386317868" sldId="2147483684"/>
        </pc:sldMasterMkLst>
        <pc:sldLayoutChg chg="del">
          <pc:chgData name="Dave Lingebach" userId="8345a2a5-a067-4759-8441-be0dd7848035" providerId="ADAL" clId="{B97414C9-1B7A-492A-BF10-4F8198641CF8}" dt="2023-10-24T03:01:06.861" v="168" actId="47"/>
          <pc:sldLayoutMkLst>
            <pc:docMk/>
            <pc:sldMasterMk cId="2386317868" sldId="2147483684"/>
            <pc:sldLayoutMk cId="1310785097" sldId="2147483710"/>
          </pc:sldLayoutMkLst>
        </pc:sldLayoutChg>
        <pc:sldLayoutChg chg="add del">
          <pc:chgData name="Dave Lingebach" userId="8345a2a5-a067-4759-8441-be0dd7848035" providerId="ADAL" clId="{B97414C9-1B7A-492A-BF10-4F8198641CF8}" dt="2023-10-24T03:02:10.193" v="184" actId="47"/>
          <pc:sldLayoutMkLst>
            <pc:docMk/>
            <pc:sldMasterMk cId="2386317868" sldId="2147483684"/>
            <pc:sldLayoutMk cId="2603271674" sldId="2147483711"/>
          </pc:sldLayoutMkLst>
        </pc:sldLayoutChg>
      </pc:sldMasterChg>
    </pc:docChg>
  </pc:docChgLst>
  <pc:docChgLst>
    <pc:chgData name="Dave Lingebach" userId="8345a2a5-a067-4759-8441-be0dd7848035" providerId="ADAL" clId="{A1040E39-BC16-40A5-8ECD-6850BDFF7DE5}"/>
    <pc:docChg chg="addSld modSld">
      <pc:chgData name="Dave Lingebach" userId="8345a2a5-a067-4759-8441-be0dd7848035" providerId="ADAL" clId="{A1040E39-BC16-40A5-8ECD-6850BDFF7DE5}" dt="2024-01-28T20:42:47.810" v="0"/>
      <pc:docMkLst>
        <pc:docMk/>
      </pc:docMkLst>
      <pc:sldChg chg="add">
        <pc:chgData name="Dave Lingebach" userId="8345a2a5-a067-4759-8441-be0dd7848035" providerId="ADAL" clId="{A1040E39-BC16-40A5-8ECD-6850BDFF7DE5}" dt="2024-01-28T20:42:47.810" v="0"/>
        <pc:sldMkLst>
          <pc:docMk/>
          <pc:sldMk cId="1210955252" sldId="211341799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54577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413160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63481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597486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88915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3780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3412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11531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2838578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789403540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409894308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742924781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259709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72681556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432514560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914973022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793294139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4885856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C1A5255-9786-CD25-248A-C8140C58A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14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10999316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62142307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7439254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984451908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27089585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65845482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1_Title Only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4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8" name="Google Shape;298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4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933D1B77-D9AD-70F7-E0E3-8CD5B4BE03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102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510756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655107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34631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62331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095481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40439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437438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39522082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225776182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188516276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233246201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492015917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139111649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000042472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376386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67728648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97369553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89657093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103642784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152689819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011604999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00705879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36750601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79013649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658512249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773385"/>
      </p:ext>
    </p:extLst>
  </p:cSld>
  <p:clrMapOvr>
    <a:masterClrMapping/>
  </p:clrMapOvr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84508336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598764020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Page">
  <p:cSld name="1_Cover Pag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0"/>
          <p:cNvSpPr txBox="1">
            <a:spLocks noGrp="1"/>
          </p:cNvSpPr>
          <p:nvPr>
            <p:ph type="title"/>
          </p:nvPr>
        </p:nvSpPr>
        <p:spPr>
          <a:xfrm>
            <a:off x="984421" y="2182619"/>
            <a:ext cx="10647104" cy="187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2" name="Google Shape;22;p50"/>
          <p:cNvSpPr txBox="1">
            <a:spLocks noGrp="1"/>
          </p:cNvSpPr>
          <p:nvPr>
            <p:ph type="body" idx="1"/>
          </p:nvPr>
        </p:nvSpPr>
        <p:spPr>
          <a:xfrm>
            <a:off x="1012848" y="4231138"/>
            <a:ext cx="10647104" cy="31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7092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">
  <p:cSld name="Section Divid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2"/>
          <p:cNvSpPr txBox="1">
            <a:spLocks noGrp="1"/>
          </p:cNvSpPr>
          <p:nvPr>
            <p:ph type="body" idx="1"/>
          </p:nvPr>
        </p:nvSpPr>
        <p:spPr>
          <a:xfrm>
            <a:off x="4924425" y="2547036"/>
            <a:ext cx="2343150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1882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53131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1491155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7237939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54134224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29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oleObject" Target="../embeddings/oleObject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5F785A-75E2-A8AF-04D6-315E5186B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97006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5" progId="TCLayout.ActiveDocument.1">
                  <p:embed/>
                </p:oleObj>
              </mc:Choice>
              <mc:Fallback>
                <p:oleObj name="think-cell Slide" r:id="rId3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5F785A-75E2-A8AF-04D6-315E5186B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1E9575A-B808-43B9-392D-C651EDAEF5A1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31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2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221648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5.xml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6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7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8.xml"/><Relationship Id="rId6" Type="http://schemas.openxmlformats.org/officeDocument/2006/relationships/image" Target="../media/image2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0.xml"/><Relationship Id="rId6" Type="http://schemas.openxmlformats.org/officeDocument/2006/relationships/image" Target="../media/image2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1.xml"/><Relationship Id="rId6" Type="http://schemas.openxmlformats.org/officeDocument/2006/relationships/image" Target="../media/image2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2.xml"/><Relationship Id="rId6" Type="http://schemas.openxmlformats.org/officeDocument/2006/relationships/image" Target="../media/image2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BE25E8-B4A0-CAA0-D833-DEAC6A217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7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BE25E8-B4A0-CAA0-D833-DEAC6A217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592C9A-2923-003D-E7DB-2FC9C158B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29" y="2523757"/>
            <a:ext cx="10575854" cy="664797"/>
          </a:xfrm>
        </p:spPr>
        <p:txBody>
          <a:bodyPr vert="horz"/>
          <a:lstStyle/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3200" dirty="0"/>
              <a:t>Sales Coverage &amp; Organization Design Prime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75DDD04-CC53-F779-F831-CAB50A51E2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dirty="0"/>
              <a:t>Supplement to the </a:t>
            </a:r>
            <a:r>
              <a:rPr lang="en-US" sz="1800" dirty="0">
                <a:solidFill>
                  <a:schemeClr val="accent4"/>
                </a:solidFill>
              </a:rPr>
              <a:t>Growth Project Guide to Sales Coverage &amp; Organization Design</a:t>
            </a:r>
          </a:p>
        </p:txBody>
      </p:sp>
    </p:spTree>
    <p:extLst>
      <p:ext uri="{BB962C8B-B14F-4D97-AF65-F5344CB8AC3E}">
        <p14:creationId xmlns:p14="http://schemas.microsoft.com/office/powerpoint/2010/main" val="1906600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FBE254-2CF3-CF14-5662-9F4EF29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89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FBE254-2CF3-CF14-5662-9F4EF29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Google Shape;471;p34"/>
          <p:cNvSpPr txBox="1">
            <a:spLocks noGrp="1"/>
          </p:cNvSpPr>
          <p:nvPr>
            <p:ph type="title"/>
          </p:nvPr>
        </p:nvSpPr>
        <p:spPr>
          <a:xfrm>
            <a:off x="623887" y="286982"/>
            <a:ext cx="10944225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Sales Coverage &amp; Organization Design projects 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follow a five-step process to develop an integrated coverage strategy &amp; build an effective sales organization. Step 6 is implementation.</a:t>
            </a:r>
            <a:endParaRPr dirty="0"/>
          </a:p>
        </p:txBody>
      </p:sp>
      <p:sp>
        <p:nvSpPr>
          <p:cNvPr id="472" name="Google Shape;472;p3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</a:t>
            </a:fld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73" name="Google Shape;473;p34"/>
          <p:cNvSpPr/>
          <p:nvPr/>
        </p:nvSpPr>
        <p:spPr>
          <a:xfrm>
            <a:off x="633282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STEP 1:</a:t>
            </a:r>
            <a:b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Establish a Fact Base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74" name="Google Shape;474;p34"/>
          <p:cNvSpPr/>
          <p:nvPr/>
        </p:nvSpPr>
        <p:spPr>
          <a:xfrm>
            <a:off x="2848775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STEP 2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Develop a Coverage Strategy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75" name="Google Shape;475;p34"/>
          <p:cNvSpPr/>
          <p:nvPr/>
        </p:nvSpPr>
        <p:spPr>
          <a:xfrm>
            <a:off x="5059873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STEP 3:</a:t>
            </a:r>
            <a:b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Determine Rep Capacity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76" name="Google Shape;476;p34"/>
          <p:cNvSpPr/>
          <p:nvPr/>
        </p:nvSpPr>
        <p:spPr>
          <a:xfrm>
            <a:off x="7279761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STEP 4:</a:t>
            </a:r>
            <a:b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/>
                <a:ea typeface="Avenir"/>
                <a:cs typeface="Avenir"/>
                <a:sym typeface="Avenir"/>
              </a:rPr>
              <a:t>Evaluate Sales Headcount 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77" name="Google Shape;477;p34"/>
          <p:cNvSpPr/>
          <p:nvPr/>
        </p:nvSpPr>
        <p:spPr>
          <a:xfrm>
            <a:off x="9495255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STEP 5: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Design the Sales Org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8" name="Google Shape;478;p34"/>
          <p:cNvSpPr/>
          <p:nvPr/>
        </p:nvSpPr>
        <p:spPr>
          <a:xfrm>
            <a:off x="633283" y="3296247"/>
            <a:ext cx="2098724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4C4846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0" name="Google Shape;480;p34"/>
          <p:cNvSpPr/>
          <p:nvPr/>
        </p:nvSpPr>
        <p:spPr>
          <a:xfrm>
            <a:off x="633283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have our customers historically performed?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1" name="Google Shape;481;p34"/>
          <p:cNvSpPr/>
          <p:nvPr/>
        </p:nvSpPr>
        <p:spPr>
          <a:xfrm>
            <a:off x="2848776" y="3296247"/>
            <a:ext cx="2103120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4C4846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3" name="Google Shape;483;p34"/>
          <p:cNvSpPr/>
          <p:nvPr/>
        </p:nvSpPr>
        <p:spPr>
          <a:xfrm>
            <a:off x="2848776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How do we profitably </a:t>
            </a:r>
            <a:br>
              <a:rPr lang="en-US" sz="100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</a:br>
            <a:r>
              <a:rPr lang="en-US" sz="100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serve customers in their </a:t>
            </a:r>
            <a:br>
              <a:rPr lang="en-US" sz="100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</a:br>
            <a:r>
              <a:rPr lang="en-US" sz="100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preferred channe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?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4" name="Google Shape;484;p34"/>
          <p:cNvSpPr/>
          <p:nvPr/>
        </p:nvSpPr>
        <p:spPr>
          <a:xfrm>
            <a:off x="5064267" y="3296247"/>
            <a:ext cx="2098725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4C4846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6" name="Google Shape;486;p34"/>
          <p:cNvSpPr/>
          <p:nvPr/>
        </p:nvSpPr>
        <p:spPr>
          <a:xfrm>
            <a:off x="5064269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many accounts 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or opportunities can 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our reps cover?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7" name="Google Shape;487;p34"/>
          <p:cNvSpPr/>
          <p:nvPr/>
        </p:nvSpPr>
        <p:spPr>
          <a:xfrm>
            <a:off x="7279761" y="3296247"/>
            <a:ext cx="2098724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4C4846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9" name="Google Shape;489;p34"/>
          <p:cNvSpPr/>
          <p:nvPr/>
        </p:nvSpPr>
        <p:spPr>
          <a:xfrm>
            <a:off x="7279762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many reps do we need to make the number?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0" name="Google Shape;490;p34"/>
          <p:cNvSpPr/>
          <p:nvPr/>
        </p:nvSpPr>
        <p:spPr>
          <a:xfrm>
            <a:off x="9495254" y="3296247"/>
            <a:ext cx="2098723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4C4846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2" name="Google Shape;492;p34"/>
          <p:cNvSpPr/>
          <p:nvPr/>
        </p:nvSpPr>
        <p:spPr>
          <a:xfrm>
            <a:off x="9495255" y="3188823"/>
            <a:ext cx="2103120" cy="570178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do we structure our sales team for growth?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25E4EB2-3743-37B6-4564-C0CE4D783DF3}"/>
              </a:ext>
            </a:extLst>
          </p:cNvPr>
          <p:cNvGrpSpPr/>
          <p:nvPr/>
        </p:nvGrpSpPr>
        <p:grpSpPr>
          <a:xfrm>
            <a:off x="792479" y="3825469"/>
            <a:ext cx="10607040" cy="2059025"/>
            <a:chOff x="802580" y="3822279"/>
            <a:chExt cx="10596234" cy="2142138"/>
          </a:xfrm>
        </p:grpSpPr>
        <p:sp>
          <p:nvSpPr>
            <p:cNvPr id="479" name="Google Shape;479;p34"/>
            <p:cNvSpPr/>
            <p:nvPr/>
          </p:nvSpPr>
          <p:spPr>
            <a:xfrm>
              <a:off x="802580" y="3822279"/>
              <a:ext cx="1754379" cy="214213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Avenir" panose="020B0503020203020204"/>
                  <a:cs typeface="Avenir" panose="020B0503020203020204"/>
                  <a:sym typeface="Avenir"/>
                </a:rPr>
                <a:t>Gather &amp; analyze past performance data to assess the effectiveness of your current-state sales organization &amp; identify gaps in your coverage strategy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orm hypotheses to increase revenue growth &amp; reduce coverage leakage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Avenir" panose="020B0503020203020204"/>
                  <a:cs typeface="Avenir" panose="020B0503020203020204"/>
                  <a:sym typeface="Avenir"/>
                </a:rPr>
                <a:t>Survey customers to understand buying preferences.</a:t>
              </a: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venir" panose="020B0503020203020204"/>
                <a:cs typeface="Avenir" panose="020B0503020203020204"/>
                <a:sym typeface="Avenir"/>
              </a:endParaRPr>
            </a:p>
          </p:txBody>
        </p:sp>
        <p:sp>
          <p:nvSpPr>
            <p:cNvPr id="482" name="Google Shape;482;p34"/>
            <p:cNvSpPr/>
            <p:nvPr/>
          </p:nvSpPr>
          <p:spPr>
            <a:xfrm>
              <a:off x="3018075" y="3822280"/>
              <a:ext cx="1734262" cy="142809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Review your current state plan &amp; identify opportunities to optimize your coverage strategy. 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Evaluate options for coverage changes &amp; design a future state plan that balances CAC with LTV. </a:t>
              </a:r>
            </a:p>
          </p:txBody>
        </p:sp>
        <p:sp>
          <p:nvSpPr>
            <p:cNvPr id="485" name="Google Shape;485;p34"/>
            <p:cNvSpPr/>
            <p:nvPr/>
          </p:nvSpPr>
          <p:spPr>
            <a:xfrm>
              <a:off x="5233565" y="3822279"/>
              <a:ext cx="1744969" cy="214213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Conduct a seller time study to inform rep capacity planning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Correlate your time study results with sales performance to understand how top-performing reps allocate selling time &amp; validate your observations in the time study data. 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Use time study &amp; past performance data to build a sales rep capacity model.</a:t>
              </a:r>
            </a:p>
          </p:txBody>
        </p:sp>
        <p:sp>
          <p:nvSpPr>
            <p:cNvPr id="488" name="Google Shape;488;p34"/>
            <p:cNvSpPr/>
            <p:nvPr/>
          </p:nvSpPr>
          <p:spPr>
            <a:xfrm>
              <a:off x="7449059" y="3822279"/>
              <a:ext cx="1734262" cy="142809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Avenir"/>
                </a:rPr>
                <a:t>Model the sales headcount necessary for client development &amp; retention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Avenir"/>
                </a:rPr>
                <a:t>Evaluate bottom-up &amp;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Avenir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Avenir"/>
                </a:rPr>
                <a:t>top-down models to calculate the team capacity needed to achieve revenue growth targets.</a:t>
              </a:r>
            </a:p>
          </p:txBody>
        </p:sp>
        <p:sp>
          <p:nvSpPr>
            <p:cNvPr id="493" name="Google Shape;493;p34"/>
            <p:cNvSpPr/>
            <p:nvPr/>
          </p:nvSpPr>
          <p:spPr>
            <a:xfrm>
              <a:off x="9664552" y="3822279"/>
              <a:ext cx="1734262" cy="214213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venir" panose="020B0503020203020204"/>
                  <a:cs typeface="Avenir" panose="020B0503020203020204"/>
                  <a:sym typeface="Avenir"/>
                </a:rPr>
                <a:t>Select the optimal org design model for each direct customer segment in your coverage plan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Size the sales organization with the appropriate ratios of sellers to sales managers &amp; design ideal roles to support coverage motions.</a:t>
              </a:r>
            </a:p>
            <a:p>
              <a:pPr marL="18288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Design Rules of Engagement for direct &amp; channel sellers to avoid or remediate conflict.</a:t>
              </a: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94" name="Google Shape;494;p34"/>
          <p:cNvSpPr/>
          <p:nvPr/>
        </p:nvSpPr>
        <p:spPr>
          <a:xfrm>
            <a:off x="802581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5" name="Google Shape;495;p34"/>
          <p:cNvSpPr/>
          <p:nvPr/>
        </p:nvSpPr>
        <p:spPr>
          <a:xfrm>
            <a:off x="3018074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6" name="Google Shape;496;p34"/>
          <p:cNvSpPr/>
          <p:nvPr/>
        </p:nvSpPr>
        <p:spPr>
          <a:xfrm>
            <a:off x="5233567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7" name="Google Shape;497;p34"/>
          <p:cNvSpPr/>
          <p:nvPr/>
        </p:nvSpPr>
        <p:spPr>
          <a:xfrm>
            <a:off x="7449059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8" name="Google Shape;498;p34"/>
          <p:cNvSpPr/>
          <p:nvPr/>
        </p:nvSpPr>
        <p:spPr>
          <a:xfrm>
            <a:off x="9664553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9" name="Google Shape;374;p2">
            <a:extLst>
              <a:ext uri="{FF2B5EF4-FFF2-40B4-BE49-F238E27FC236}">
                <a16:creationId xmlns:a16="http://schemas.microsoft.com/office/drawing/2014/main" id="{1A9131F4-D764-D01A-48DF-409132B4FB5C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473;p34">
            <a:extLst>
              <a:ext uri="{FF2B5EF4-FFF2-40B4-BE49-F238E27FC236}">
                <a16:creationId xmlns:a16="http://schemas.microsoft.com/office/drawing/2014/main" id="{AD2A1867-36F9-0176-5AAF-F571548115EF}"/>
              </a:ext>
            </a:extLst>
          </p:cNvPr>
          <p:cNvSpPr/>
          <p:nvPr/>
        </p:nvSpPr>
        <p:spPr>
          <a:xfrm>
            <a:off x="633283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STEP 1: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Establish a Fact Base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Google Shape;474;p34">
            <a:extLst>
              <a:ext uri="{FF2B5EF4-FFF2-40B4-BE49-F238E27FC236}">
                <a16:creationId xmlns:a16="http://schemas.microsoft.com/office/drawing/2014/main" id="{3D70E4E1-E39C-0163-153B-2FE836DBDB48}"/>
              </a:ext>
            </a:extLst>
          </p:cNvPr>
          <p:cNvSpPr/>
          <p:nvPr/>
        </p:nvSpPr>
        <p:spPr>
          <a:xfrm>
            <a:off x="2848776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STEP 2: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Develop a Coverage Strategy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Google Shape;475;p34">
            <a:extLst>
              <a:ext uri="{FF2B5EF4-FFF2-40B4-BE49-F238E27FC236}">
                <a16:creationId xmlns:a16="http://schemas.microsoft.com/office/drawing/2014/main" id="{97A3FFBE-E2AC-9D3C-7878-B81F80691606}"/>
              </a:ext>
            </a:extLst>
          </p:cNvPr>
          <p:cNvSpPr/>
          <p:nvPr/>
        </p:nvSpPr>
        <p:spPr>
          <a:xfrm>
            <a:off x="5059874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STEP 3: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Determine Rep Capacity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venir"/>
              <a:cs typeface="Avenir"/>
              <a:sym typeface="Avenir"/>
            </a:endParaRPr>
          </a:p>
        </p:txBody>
      </p:sp>
      <p:sp>
        <p:nvSpPr>
          <p:cNvPr id="13" name="Google Shape;476;p34">
            <a:extLst>
              <a:ext uri="{FF2B5EF4-FFF2-40B4-BE49-F238E27FC236}">
                <a16:creationId xmlns:a16="http://schemas.microsoft.com/office/drawing/2014/main" id="{BFE50EB1-ECF3-849E-18AE-8354A4436AC9}"/>
              </a:ext>
            </a:extLst>
          </p:cNvPr>
          <p:cNvSpPr/>
          <p:nvPr/>
        </p:nvSpPr>
        <p:spPr>
          <a:xfrm>
            <a:off x="7279762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STEP 4: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Evaluate Sales Headcount 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Google Shape;480;p34">
            <a:extLst>
              <a:ext uri="{FF2B5EF4-FFF2-40B4-BE49-F238E27FC236}">
                <a16:creationId xmlns:a16="http://schemas.microsoft.com/office/drawing/2014/main" id="{9AB16FDE-F3FE-EB15-A3AC-A74151CAEE47}"/>
              </a:ext>
            </a:extLst>
          </p:cNvPr>
          <p:cNvSpPr/>
          <p:nvPr/>
        </p:nvSpPr>
        <p:spPr>
          <a:xfrm>
            <a:off x="633282" y="3175845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have our customers historically performed?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Google Shape;483;p34">
            <a:extLst>
              <a:ext uri="{FF2B5EF4-FFF2-40B4-BE49-F238E27FC236}">
                <a16:creationId xmlns:a16="http://schemas.microsoft.com/office/drawing/2014/main" id="{90684FA7-A7A8-3F21-4B10-D7ED9154C9A1}"/>
              </a:ext>
            </a:extLst>
          </p:cNvPr>
          <p:cNvSpPr/>
          <p:nvPr/>
        </p:nvSpPr>
        <p:spPr>
          <a:xfrm>
            <a:off x="2848775" y="3175845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lang="en-US" sz="105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How do we profitably </a:t>
            </a:r>
            <a:br>
              <a:rPr lang="en-US" sz="105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</a:br>
            <a:r>
              <a:rPr lang="en-US" sz="105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serve customers in their </a:t>
            </a:r>
            <a:br>
              <a:rPr lang="en-US" sz="105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</a:br>
            <a:r>
              <a:rPr lang="en-US" sz="1050" b="1" dirty="0">
                <a:solidFill>
                  <a:srgbClr val="FFFFFF"/>
                </a:solidFill>
                <a:ea typeface="Avenir"/>
                <a:cs typeface="Avenir"/>
                <a:sym typeface="Avenir"/>
              </a:rPr>
              <a:t>preferred channel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?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Google Shape;486;p34">
            <a:extLst>
              <a:ext uri="{FF2B5EF4-FFF2-40B4-BE49-F238E27FC236}">
                <a16:creationId xmlns:a16="http://schemas.microsoft.com/office/drawing/2014/main" id="{5F764E02-319C-0753-EED4-8196EC1FB96D}"/>
              </a:ext>
            </a:extLst>
          </p:cNvPr>
          <p:cNvSpPr/>
          <p:nvPr/>
        </p:nvSpPr>
        <p:spPr>
          <a:xfrm>
            <a:off x="5064268" y="3175845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many accounts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or opportunities can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</a:b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our reps cover?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Google Shape;489;p34">
            <a:extLst>
              <a:ext uri="{FF2B5EF4-FFF2-40B4-BE49-F238E27FC236}">
                <a16:creationId xmlns:a16="http://schemas.microsoft.com/office/drawing/2014/main" id="{5655680F-A27B-7DD9-86D7-F5878406E4E7}"/>
              </a:ext>
            </a:extLst>
          </p:cNvPr>
          <p:cNvSpPr/>
          <p:nvPr/>
        </p:nvSpPr>
        <p:spPr>
          <a:xfrm>
            <a:off x="7279761" y="3175845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venir"/>
                <a:cs typeface="Avenir"/>
                <a:sym typeface="Avenir"/>
              </a:rPr>
              <a:t>How many reps do we need to make the number?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FA429C-D348-00F6-8771-400B9890DD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285" y="1921980"/>
            <a:ext cx="1950720" cy="1097280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12A3CC6-B997-988E-ADEE-AB3416847C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2778" y="1921980"/>
            <a:ext cx="1950720" cy="1097280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3814E1A-400E-22CC-68E6-A54F398B79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8271" y="1921980"/>
            <a:ext cx="1950720" cy="1097280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C8974AC-5633-2F4E-FDC4-ED9C08387D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53764" y="1921980"/>
            <a:ext cx="1950720" cy="1097280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0D0BF46-7177-53F4-1987-2FF94EEBCA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69255" y="1921980"/>
            <a:ext cx="1950720" cy="1097280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341016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695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E1B2308-AC44-3D1A-9F46-01AF6335221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439" y="1179315"/>
            <a:ext cx="6858000" cy="3200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589F6F-0371-B97F-5BED-DE34E9F13683}"/>
              </a:ext>
            </a:extLst>
          </p:cNvPr>
          <p:cNvSpPr/>
          <p:nvPr/>
        </p:nvSpPr>
        <p:spPr>
          <a:xfrm>
            <a:off x="4742122" y="2645447"/>
            <a:ext cx="68580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6" name="Google Shape;516;p38"/>
          <p:cNvSpPr/>
          <p:nvPr/>
        </p:nvSpPr>
        <p:spPr>
          <a:xfrm>
            <a:off x="591878" y="1179315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3017520" cy="378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74320" marR="0" lvl="0" indent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Analysis and Performance Review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2F2F2"/>
                </a:solidFill>
                <a:latin typeface="+mj-lt"/>
                <a:ea typeface="Verdana"/>
                <a:cs typeface="Verdana"/>
                <a:sym typeface="Verdana"/>
              </a:rPr>
              <a:t>Current Headcount by role, by region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2F2F2"/>
                </a:solidFill>
                <a:latin typeface="+mj-lt"/>
                <a:ea typeface="Verdana"/>
                <a:cs typeface="Verdana"/>
                <a:sym typeface="Verdana"/>
              </a:rPr>
              <a:t>Cost &amp; productivity of reps by region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2F2F2"/>
                </a:solidFill>
                <a:latin typeface="+mj-lt"/>
                <a:ea typeface="Verdana"/>
                <a:cs typeface="Verdana"/>
                <a:sym typeface="Verdana"/>
              </a:rPr>
              <a:t>Whitespace &amp; account potential for customers &amp; prospects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2F2F2"/>
                </a:solidFill>
                <a:latin typeface="+mj-lt"/>
                <a:ea typeface="Verdana"/>
                <a:cs typeface="Verdana"/>
                <a:sym typeface="Verdana"/>
              </a:rPr>
              <a:t>Span of control </a:t>
            </a:r>
            <a:endParaRPr lang="en-US" sz="1000" b="1" dirty="0">
              <a:solidFill>
                <a:srgbClr val="F2F2F2"/>
              </a:solidFill>
              <a:latin typeface="+mj-lt"/>
              <a:ea typeface="Verdana"/>
              <a:cs typeface="Verdana"/>
              <a:sym typeface="Verdana"/>
            </a:endParaRPr>
          </a:p>
          <a:p>
            <a:pPr marL="274320" marR="0" lvl="0" indent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dirty="0">
                <a:solidFill>
                  <a:srgbClr val="F2F2F2"/>
                </a:solidFill>
                <a:latin typeface="+mj-lt"/>
                <a:ea typeface="Verdana"/>
                <a:cs typeface="Verdana"/>
                <a:sym typeface="Verdana"/>
              </a:rPr>
              <a:t>Customer and Rep Surveys</a:t>
            </a:r>
          </a:p>
          <a:p>
            <a:pPr marL="274320" marR="0" lvl="0" indent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100" b="1" dirty="0">
                <a:solidFill>
                  <a:schemeClr val="accent3"/>
                </a:solidFill>
                <a:latin typeface="+mj-lt"/>
                <a:ea typeface="Verdana"/>
                <a:cs typeface="Verdana"/>
                <a:sym typeface="Avenir"/>
              </a:rPr>
              <a:t>Customer Survey: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Understand how your customers prefer to engage and through which channel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Understand how your customers prefer to buy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How much specialization are your customer </a:t>
            </a:r>
            <a:b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</a:b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willing to pay for</a:t>
            </a:r>
          </a:p>
          <a:p>
            <a:pPr marL="274320" marR="0" lvl="0" indent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100" b="1" dirty="0">
                <a:solidFill>
                  <a:schemeClr val="accent3"/>
                </a:solidFill>
                <a:latin typeface="+mj-lt"/>
                <a:ea typeface="Verdana"/>
                <a:cs typeface="Verdana"/>
                <a:sym typeface="Avenir"/>
              </a:rPr>
              <a:t>Rep Time Study: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Split out selling, ops and admin duties by role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+mj-lt"/>
                <a:ea typeface="Verdana"/>
                <a:cs typeface="Verdana"/>
                <a:sym typeface="Avenir"/>
              </a:rPr>
              <a:t>Define selling activities vs non-selling activities</a:t>
            </a: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Establish a fact base for sales coverage decisions using customer and rep surveys, and a thorough review of 2– </a:t>
            </a: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3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 years of financial performance. </a:t>
            </a:r>
            <a:endParaRPr lang="en-US" dirty="0"/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Establish </a:t>
            </a:r>
            <a:r>
              <a:rPr lang="en-US" sz="16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 fact base</a:t>
            </a: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with: </a:t>
            </a:r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63" name="Google Shape;563;p38"/>
          <p:cNvGrpSpPr/>
          <p:nvPr/>
        </p:nvGrpSpPr>
        <p:grpSpPr>
          <a:xfrm>
            <a:off x="785442" y="1888835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6" name="Google Shape;566;p38"/>
          <p:cNvGrpSpPr/>
          <p:nvPr/>
        </p:nvGrpSpPr>
        <p:grpSpPr>
          <a:xfrm>
            <a:off x="753963" y="3429000"/>
            <a:ext cx="133350" cy="133350"/>
            <a:chOff x="266700" y="2733860"/>
            <a:chExt cx="133350" cy="133350"/>
          </a:xfrm>
        </p:grpSpPr>
        <p:sp>
          <p:nvSpPr>
            <p:cNvPr id="567" name="Google Shape;567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30" name="Google Shape;374;p2">
            <a:extLst>
              <a:ext uri="{FF2B5EF4-FFF2-40B4-BE49-F238E27FC236}">
                <a16:creationId xmlns:a16="http://schemas.microsoft.com/office/drawing/2014/main" id="{F5022ED6-6650-A8E8-E773-E48228E95B36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F5C004-E1DD-3A85-33C2-843E14679B84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122" y="2645447"/>
            <a:ext cx="6858000" cy="3200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23316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EA7279-E06F-0EB6-03ED-4179669B4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799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A7279-E06F-0EB6-03ED-4179669B4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Google Shape;471;p34"/>
          <p:cNvSpPr txBox="1">
            <a:spLocks noGrp="1"/>
          </p:cNvSpPr>
          <p:nvPr>
            <p:ph type="title"/>
          </p:nvPr>
        </p:nvSpPr>
        <p:spPr>
          <a:xfrm>
            <a:off x="623887" y="286982"/>
            <a:ext cx="10944225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Use the output from Account Segmentation as a foundation to determine optimal routes to market for each customer segment. </a:t>
            </a:r>
            <a:endParaRPr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F93EA1D-50BC-6EF2-4BA2-3B9015368816}"/>
              </a:ext>
            </a:extLst>
          </p:cNvPr>
          <p:cNvGrpSpPr/>
          <p:nvPr/>
        </p:nvGrpSpPr>
        <p:grpSpPr>
          <a:xfrm>
            <a:off x="1171798" y="1189877"/>
            <a:ext cx="4572000" cy="4740739"/>
            <a:chOff x="1171798" y="1189877"/>
            <a:chExt cx="4572000" cy="4740739"/>
          </a:xfrm>
        </p:grpSpPr>
        <p:sp>
          <p:nvSpPr>
            <p:cNvPr id="6" name="Google Shape;834;p14">
              <a:extLst>
                <a:ext uri="{FF2B5EF4-FFF2-40B4-BE49-F238E27FC236}">
                  <a16:creationId xmlns:a16="http://schemas.microsoft.com/office/drawing/2014/main" id="{8F78CD32-4358-A737-CAD5-C2A365F191E0}"/>
                </a:ext>
              </a:extLst>
            </p:cNvPr>
            <p:cNvSpPr txBox="1"/>
            <p:nvPr/>
          </p:nvSpPr>
          <p:spPr>
            <a:xfrm>
              <a:off x="1171798" y="1189877"/>
              <a:ext cx="457200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dirty="0">
                  <a:solidFill>
                    <a:schemeClr val="dk1"/>
                  </a:solidFill>
                  <a:ea typeface="Arial"/>
                  <a:cs typeface="Arial"/>
                  <a:sym typeface="Arial"/>
                </a:rPr>
                <a:t>Accounts by Current and Potential Spend</a:t>
              </a:r>
              <a:endParaRPr sz="1400" b="1" dirty="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B04193E-B7FE-1010-D5E4-E363E93510C9}"/>
                </a:ext>
              </a:extLst>
            </p:cNvPr>
            <p:cNvGrpSpPr/>
            <p:nvPr/>
          </p:nvGrpSpPr>
          <p:grpSpPr>
            <a:xfrm>
              <a:off x="1171798" y="1577857"/>
              <a:ext cx="4572000" cy="3639290"/>
              <a:chOff x="379560" y="4521952"/>
              <a:chExt cx="4572000" cy="3639290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7D3FD25A-F7A7-1A0F-499A-5860842F9549}"/>
                  </a:ext>
                </a:extLst>
              </p:cNvPr>
              <p:cNvSpPr/>
              <p:nvPr/>
            </p:nvSpPr>
            <p:spPr>
              <a:xfrm>
                <a:off x="379560" y="4521952"/>
                <a:ext cx="4572000" cy="3639290"/>
              </a:xfrm>
              <a:prstGeom prst="roundRect">
                <a:avLst>
                  <a:gd name="adj" fmla="val 2722"/>
                </a:avLst>
              </a:prstGeom>
              <a:solidFill>
                <a:srgbClr val="FFFFFF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C4846"/>
                  </a:solidFill>
                  <a:effectLst/>
                  <a:uLnTx/>
                  <a:uFillTx/>
                  <a:ea typeface="+mn-ea"/>
                  <a:cs typeface="Gotham Book" pitchFamily="2" charset="0"/>
                </a:endParaRPr>
              </a:p>
            </p:txBody>
          </p:sp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9DEB23DC-5171-845F-1C25-40BE9B3E24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28373" y="4698709"/>
                <a:ext cx="3882036" cy="3090669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3995682-0098-9752-4043-0871FCEA4885}"/>
                  </a:ext>
                </a:extLst>
              </p:cNvPr>
              <p:cNvSpPr txBox="1"/>
              <p:nvPr/>
            </p:nvSpPr>
            <p:spPr>
              <a:xfrm>
                <a:off x="1190668" y="7336338"/>
                <a:ext cx="1458536" cy="256481"/>
              </a:xfrm>
              <a:prstGeom prst="rect">
                <a:avLst/>
              </a:prstGeom>
              <a:solidFill>
                <a:srgbClr val="FFFFFF">
                  <a:alpha val="54118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400" b="1" u="sng" kern="1200">
                    <a:solidFill>
                      <a:schemeClr val="tx2"/>
                    </a:solidFill>
                    <a:ea typeface="+mn-ea"/>
                    <a:cs typeface="+mn-cs"/>
                  </a:rPr>
                  <a:t>O</a:t>
                </a:r>
                <a:r>
                  <a:rPr lang="en-US" sz="1400" b="1" kern="1200">
                    <a:solidFill>
                      <a:schemeClr val="tx2"/>
                    </a:solidFill>
                    <a:ea typeface="+mn-ea"/>
                    <a:cs typeface="+mn-cs"/>
                  </a:rPr>
                  <a:t>pportunistic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60967EA-B3CA-CD07-EFC0-F8FBE0A636AA}"/>
                  </a:ext>
                </a:extLst>
              </p:cNvPr>
              <p:cNvSpPr txBox="1"/>
              <p:nvPr/>
            </p:nvSpPr>
            <p:spPr>
              <a:xfrm>
                <a:off x="3098018" y="7336337"/>
                <a:ext cx="1458536" cy="256481"/>
              </a:xfrm>
              <a:prstGeom prst="rect">
                <a:avLst/>
              </a:prstGeom>
              <a:solidFill>
                <a:srgbClr val="FFFFFF">
                  <a:alpha val="74902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400" b="1" u="sng" kern="1200">
                    <a:solidFill>
                      <a:schemeClr val="tx2"/>
                    </a:solidFill>
                    <a:ea typeface="+mn-ea"/>
                    <a:cs typeface="+mn-cs"/>
                  </a:rPr>
                  <a:t>R</a:t>
                </a:r>
                <a:r>
                  <a:rPr lang="en-US" sz="1400" b="1" kern="1200">
                    <a:solidFill>
                      <a:schemeClr val="tx2"/>
                    </a:solidFill>
                    <a:ea typeface="+mn-ea"/>
                    <a:cs typeface="+mn-cs"/>
                  </a:rPr>
                  <a:t>etain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5F272B3-6A68-118E-A8BF-18687F762134}"/>
                  </a:ext>
                </a:extLst>
              </p:cNvPr>
              <p:cNvSpPr txBox="1"/>
              <p:nvPr/>
            </p:nvSpPr>
            <p:spPr>
              <a:xfrm>
                <a:off x="1190669" y="4934545"/>
                <a:ext cx="1458536" cy="256481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400" b="1" u="sng" kern="1200">
                    <a:solidFill>
                      <a:schemeClr val="tx2"/>
                    </a:solidFill>
                    <a:ea typeface="+mn-ea"/>
                    <a:cs typeface="+mn-cs"/>
                  </a:rPr>
                  <a:t>A</a:t>
                </a:r>
                <a:r>
                  <a:rPr lang="en-US" sz="1400" b="1" kern="1200">
                    <a:solidFill>
                      <a:schemeClr val="tx2"/>
                    </a:solidFill>
                    <a:ea typeface="+mn-ea"/>
                    <a:cs typeface="+mn-cs"/>
                  </a:rPr>
                  <a:t>cquire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86AA6D6-17D4-6035-1A31-D6299F1D9A67}"/>
                  </a:ext>
                </a:extLst>
              </p:cNvPr>
              <p:cNvSpPr txBox="1"/>
              <p:nvPr/>
            </p:nvSpPr>
            <p:spPr>
              <a:xfrm>
                <a:off x="3044890" y="4934545"/>
                <a:ext cx="1458536" cy="256481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400" b="1" u="sng" kern="1200">
                    <a:solidFill>
                      <a:schemeClr val="tx2"/>
                    </a:solidFill>
                    <a:ea typeface="+mn-ea"/>
                    <a:cs typeface="+mn-cs"/>
                  </a:rPr>
                  <a:t>D</a:t>
                </a:r>
                <a:r>
                  <a:rPr lang="en-US" sz="1400" b="1" kern="1200">
                    <a:solidFill>
                      <a:schemeClr val="tx2"/>
                    </a:solidFill>
                    <a:ea typeface="+mn-ea"/>
                    <a:cs typeface="+mn-cs"/>
                  </a:rPr>
                  <a:t>evelop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6CD5EFE-EB7B-54CC-D4A7-38A67D0F287F}"/>
                  </a:ext>
                </a:extLst>
              </p:cNvPr>
              <p:cNvSpPr txBox="1"/>
              <p:nvPr/>
            </p:nvSpPr>
            <p:spPr>
              <a:xfrm rot="16200000">
                <a:off x="-512776" y="5934639"/>
                <a:ext cx="229412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i="1" kern="1200" dirty="0">
                    <a:solidFill>
                      <a:srgbClr val="4C4846"/>
                    </a:solidFill>
                    <a:ea typeface="+mn-ea"/>
                    <a:cs typeface="+mn-cs"/>
                  </a:rPr>
                  <a:t>Whitespace potential spend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AB6015C-C52F-38E5-A928-AC12400EF322}"/>
                  </a:ext>
                </a:extLst>
              </p:cNvPr>
              <p:cNvSpPr txBox="1"/>
              <p:nvPr/>
            </p:nvSpPr>
            <p:spPr>
              <a:xfrm>
                <a:off x="1764622" y="7842150"/>
                <a:ext cx="2009536" cy="2356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i="1" kern="1200">
                    <a:solidFill>
                      <a:srgbClr val="4C4846"/>
                    </a:solidFill>
                    <a:ea typeface="+mn-ea"/>
                    <a:cs typeface="+mn-cs"/>
                  </a:rPr>
                  <a:t>Current Spend</a:t>
                </a: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251574B-37E4-FFA0-2B46-67C226696596}"/>
                </a:ext>
              </a:extLst>
            </p:cNvPr>
            <p:cNvSpPr txBox="1"/>
            <p:nvPr/>
          </p:nvSpPr>
          <p:spPr>
            <a:xfrm>
              <a:off x="1171798" y="5412397"/>
              <a:ext cx="4572000" cy="5182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ts val="90"/>
                </a:spcBef>
                <a:spcAft>
                  <a:spcPts val="90"/>
                </a:spcAft>
              </a:pPr>
              <a:r>
                <a:rPr lang="en-US" sz="1200" i="1" dirty="0"/>
                <a:t>Example ROAD model visualization showing break points denoting current spend (x-axis) and account potential (y-axis).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9BC4E54-9CF6-74CB-606C-133B477C8798}"/>
              </a:ext>
            </a:extLst>
          </p:cNvPr>
          <p:cNvGrpSpPr/>
          <p:nvPr/>
        </p:nvGrpSpPr>
        <p:grpSpPr>
          <a:xfrm>
            <a:off x="6448202" y="1204065"/>
            <a:ext cx="4572000" cy="4726551"/>
            <a:chOff x="6448202" y="1204065"/>
            <a:chExt cx="4572000" cy="4726551"/>
          </a:xfrm>
        </p:grpSpPr>
        <p:sp>
          <p:nvSpPr>
            <p:cNvPr id="17" name="Google Shape;834;p14">
              <a:extLst>
                <a:ext uri="{FF2B5EF4-FFF2-40B4-BE49-F238E27FC236}">
                  <a16:creationId xmlns:a16="http://schemas.microsoft.com/office/drawing/2014/main" id="{410C2E8B-2875-B1B3-77B8-60F7F228144D}"/>
                </a:ext>
              </a:extLst>
            </p:cNvPr>
            <p:cNvSpPr txBox="1"/>
            <p:nvPr/>
          </p:nvSpPr>
          <p:spPr>
            <a:xfrm>
              <a:off x="6448202" y="1204065"/>
              <a:ext cx="457200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dirty="0">
                  <a:solidFill>
                    <a:schemeClr val="dk1"/>
                  </a:solidFill>
                  <a:cs typeface="Arial"/>
                  <a:sym typeface="Arial"/>
                </a:rPr>
                <a:t>Example Sales Coverage based on ROAD model</a:t>
              </a:r>
              <a:endParaRPr sz="14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207BDC2-957F-09EA-6D84-A239410A280C}"/>
                </a:ext>
              </a:extLst>
            </p:cNvPr>
            <p:cNvSpPr txBox="1"/>
            <p:nvPr/>
          </p:nvSpPr>
          <p:spPr>
            <a:xfrm>
              <a:off x="6448202" y="5412397"/>
              <a:ext cx="4572000" cy="5182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ts val="90"/>
                </a:spcBef>
                <a:spcAft>
                  <a:spcPts val="90"/>
                </a:spcAft>
              </a:pPr>
              <a:r>
                <a:rPr lang="en-US" sz="1200" i="1" dirty="0"/>
                <a:t>Example ROAD model visualization showing how break points can be used to design coverage models for existing customers.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71A611F-6797-3516-D554-0B91C2E0910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48202" y="1577516"/>
              <a:ext cx="4572000" cy="3641053"/>
              <a:chOff x="7838729" y="19273150"/>
              <a:chExt cx="5486400" cy="4369264"/>
            </a:xfrm>
          </p:grpSpPr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284997E4-B174-D5A0-7C2F-4BCC9F47EB2C}"/>
                  </a:ext>
                </a:extLst>
              </p:cNvPr>
              <p:cNvSpPr/>
              <p:nvPr/>
            </p:nvSpPr>
            <p:spPr>
              <a:xfrm>
                <a:off x="7838729" y="19273150"/>
                <a:ext cx="5486400" cy="4369264"/>
              </a:xfrm>
              <a:prstGeom prst="roundRect">
                <a:avLst>
                  <a:gd name="adj" fmla="val 2722"/>
                </a:avLst>
              </a:prstGeom>
              <a:solidFill>
                <a:srgbClr val="FFFFFF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C4846"/>
                  </a:solidFill>
                  <a:effectLst/>
                  <a:uLnTx/>
                  <a:uFillTx/>
                  <a:ea typeface="+mn-ea"/>
                  <a:cs typeface="Gotham Book" pitchFamily="2" charset="0"/>
                </a:endParaRPr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E5C821DD-ABFB-AF5C-46E9-2A210DCC24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77305" y="19485361"/>
                <a:ext cx="4658444" cy="3710597"/>
              </a:xfrm>
              <a:prstGeom prst="rect">
                <a:avLst/>
              </a:prstGeom>
            </p:spPr>
          </p:pic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A28BE426-0445-50C0-6F12-89632C15A3E1}"/>
                  </a:ext>
                </a:extLst>
              </p:cNvPr>
              <p:cNvSpPr txBox="1"/>
              <p:nvPr/>
            </p:nvSpPr>
            <p:spPr>
              <a:xfrm>
                <a:off x="9500804" y="23259317"/>
                <a:ext cx="2411443" cy="282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i="1" kern="1200">
                    <a:solidFill>
                      <a:srgbClr val="4C4846"/>
                    </a:solidFill>
                    <a:ea typeface="+mn-ea"/>
                    <a:cs typeface="+mn-cs"/>
                  </a:rPr>
                  <a:t>Current Spend</a:t>
                </a:r>
              </a:p>
            </p:txBody>
          </p: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ABA3FEB-0BB7-B62C-B111-25ECDCB322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39325" y="21452245"/>
                <a:ext cx="1772831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99E84784-3F78-5772-8E23-B0F4E93EB2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08298" y="19485258"/>
                <a:ext cx="19841" cy="196698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550C783-954F-720C-F895-0EA6814970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31051" y="19460890"/>
                <a:ext cx="16044" cy="322490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BA2C8ED-96F0-00A3-E99A-83D044F9F9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156" y="21142276"/>
                <a:ext cx="2523593" cy="151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34B0870-2F94-989C-C3A7-5BFDFF9AF9DF}"/>
                  </a:ext>
                </a:extLst>
              </p:cNvPr>
              <p:cNvSpPr txBox="1"/>
              <p:nvPr/>
            </p:nvSpPr>
            <p:spPr>
              <a:xfrm>
                <a:off x="9316747" y="22097633"/>
                <a:ext cx="1029672" cy="332399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  <a:effectLst>
                <a:softEdge rad="63500"/>
              </a:effectLst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kern="1200" dirty="0">
                    <a:ea typeface="+mn-ea"/>
                    <a:cs typeface="+mn-cs"/>
                  </a:rPr>
                  <a:t>Channel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55315BA-CEF1-A82D-726E-3C4ABA07B5FF}"/>
                  </a:ext>
                </a:extLst>
              </p:cNvPr>
              <p:cNvSpPr txBox="1"/>
              <p:nvPr/>
            </p:nvSpPr>
            <p:spPr>
              <a:xfrm>
                <a:off x="11365147" y="19810287"/>
                <a:ext cx="1095992" cy="553998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  <a:effectLst>
                <a:softEdge rad="63500"/>
              </a:effectLst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kern="1200" dirty="0">
                    <a:ea typeface="+mn-ea"/>
                    <a:cs typeface="+mn-cs"/>
                  </a:rPr>
                  <a:t>Key </a:t>
                </a:r>
                <a:br>
                  <a:rPr lang="en-US" sz="1200" b="1" kern="1200" dirty="0">
                    <a:ea typeface="+mn-ea"/>
                    <a:cs typeface="+mn-cs"/>
                  </a:rPr>
                </a:br>
                <a:r>
                  <a:rPr lang="en-US" sz="1200" b="1" kern="1200" dirty="0">
                    <a:ea typeface="+mn-ea"/>
                    <a:cs typeface="+mn-cs"/>
                  </a:rPr>
                  <a:t>Accounts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E799F366-AA46-6EB8-1BAB-71796736F657}"/>
                  </a:ext>
                </a:extLst>
              </p:cNvPr>
              <p:cNvSpPr txBox="1"/>
              <p:nvPr/>
            </p:nvSpPr>
            <p:spPr>
              <a:xfrm>
                <a:off x="9497056" y="19568615"/>
                <a:ext cx="1007303" cy="553998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  <a:effectLst>
                <a:softEdge rad="63500"/>
              </a:effectLst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dirty="0"/>
                  <a:t>Field </a:t>
                </a:r>
                <a:br>
                  <a:rPr lang="en-US" sz="1200" b="1" dirty="0"/>
                </a:br>
                <a:r>
                  <a:rPr lang="en-US" sz="1200" b="1" dirty="0"/>
                  <a:t>Sales</a:t>
                </a:r>
                <a:endParaRPr lang="en-US" sz="1200" b="1" kern="1200" dirty="0">
                  <a:ea typeface="+mn-ea"/>
                  <a:cs typeface="+mn-cs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48D97B0-8C67-925D-B53F-C3FDC6328493}"/>
                  </a:ext>
                </a:extLst>
              </p:cNvPr>
              <p:cNvSpPr txBox="1"/>
              <p:nvPr/>
            </p:nvSpPr>
            <p:spPr>
              <a:xfrm>
                <a:off x="8628232" y="19845615"/>
                <a:ext cx="787750" cy="461665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  <a:effectLst>
                <a:softEdge rad="63500"/>
              </a:effectLst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kern="1200" dirty="0">
                    <a:ea typeface="+mn-ea"/>
                    <a:cs typeface="+mn-cs"/>
                  </a:rPr>
                  <a:t>Inside</a:t>
                </a:r>
              </a:p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dirty="0"/>
                  <a:t>Sales</a:t>
                </a:r>
                <a:endParaRPr lang="en-US" sz="1200" b="1" kern="1200" dirty="0"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EA46FDB1-7D96-3B0C-2739-DF37D212FFF6}"/>
                  </a:ext>
                </a:extLst>
              </p:cNvPr>
              <p:cNvSpPr txBox="1"/>
              <p:nvPr/>
            </p:nvSpPr>
            <p:spPr>
              <a:xfrm>
                <a:off x="11365147" y="21817982"/>
                <a:ext cx="1095992" cy="553998"/>
              </a:xfrm>
              <a:prstGeom prst="rect">
                <a:avLst/>
              </a:prstGeom>
              <a:solidFill>
                <a:srgbClr val="FFFFFF">
                  <a:alpha val="65098"/>
                </a:srgbClr>
              </a:solidFill>
              <a:effectLst>
                <a:softEdge rad="63500"/>
              </a:effectLst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b="1" dirty="0"/>
                  <a:t>Customer </a:t>
                </a:r>
                <a:br>
                  <a:rPr lang="en-US" sz="1200" b="1" dirty="0"/>
                </a:br>
                <a:r>
                  <a:rPr lang="en-US" sz="1200" b="1" kern="1200" dirty="0">
                    <a:ea typeface="+mn-ea"/>
                    <a:cs typeface="+mn-cs"/>
                  </a:rPr>
                  <a:t>Success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59B514B8-FB13-096D-F933-2FB760774794}"/>
                  </a:ext>
                </a:extLst>
              </p:cNvPr>
              <p:cNvSpPr txBox="1"/>
              <p:nvPr/>
            </p:nvSpPr>
            <p:spPr>
              <a:xfrm rot="16200000">
                <a:off x="6825658" y="20956991"/>
                <a:ext cx="2717508" cy="3323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  <a:defRPr/>
                </a:pPr>
                <a:r>
                  <a:rPr lang="en-US" sz="1200" i="1" kern="1200" dirty="0">
                    <a:solidFill>
                      <a:srgbClr val="4C4846"/>
                    </a:solidFill>
                    <a:ea typeface="+mn-ea"/>
                    <a:cs typeface="+mn-cs"/>
                  </a:rPr>
                  <a:t>Whitespace potential spend</a:t>
                </a:r>
              </a:p>
            </p:txBody>
          </p:sp>
        </p:grpSp>
      </p:grpSp>
      <p:sp>
        <p:nvSpPr>
          <p:cNvPr id="58" name="Google Shape;806;p79">
            <a:extLst>
              <a:ext uri="{FF2B5EF4-FFF2-40B4-BE49-F238E27FC236}">
                <a16:creationId xmlns:a16="http://schemas.microsoft.com/office/drawing/2014/main" id="{8CD43C44-10AA-328D-92D3-443EEBF1786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  <p:sp>
        <p:nvSpPr>
          <p:cNvPr id="59" name="Google Shape;374;p2">
            <a:extLst>
              <a:ext uri="{FF2B5EF4-FFF2-40B4-BE49-F238E27FC236}">
                <a16:creationId xmlns:a16="http://schemas.microsoft.com/office/drawing/2014/main" id="{0B1E532F-4D80-1438-11EA-6CA3975F3EA1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385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76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591878" y="1179315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Develop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 a </a:t>
            </a: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c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overage </a:t>
            </a: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strategy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 to strategically deploy resources against market opportunity, drive rep productivity and maximize selling time.</a:t>
            </a:r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5</a:t>
            </a:fld>
            <a:endParaRPr dirty="0"/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ing a Coverage Model:</a:t>
            </a: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</a:t>
            </a:r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63" name="Google Shape;563;p38"/>
          <p:cNvGrpSpPr/>
          <p:nvPr/>
        </p:nvGrpSpPr>
        <p:grpSpPr>
          <a:xfrm>
            <a:off x="701038" y="1843229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9" name="Google Shape;569;p38"/>
          <p:cNvGrpSpPr/>
          <p:nvPr/>
        </p:nvGrpSpPr>
        <p:grpSpPr>
          <a:xfrm>
            <a:off x="701038" y="3293992"/>
            <a:ext cx="133350" cy="133350"/>
            <a:chOff x="266700" y="2733860"/>
            <a:chExt cx="133350" cy="133350"/>
          </a:xfrm>
        </p:grpSpPr>
        <p:sp>
          <p:nvSpPr>
            <p:cNvPr id="570" name="Google Shape;570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3017520" cy="3536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overage Considerations:</a:t>
            </a: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2857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ustomer and/or Channel partners  </a:t>
            </a:r>
          </a:p>
          <a:p>
            <a:pPr marL="274320" marR="0" lvl="0" indent="-2857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ifferent verticals and industries </a:t>
            </a:r>
          </a:p>
          <a:p>
            <a:pPr marL="274320" marR="0" lvl="0" indent="-2857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ifferent products/ solutions </a:t>
            </a:r>
            <a:endParaRPr lang="en-US" sz="800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C4845"/>
              </a:buClr>
              <a:buSzPts val="1400"/>
            </a:pPr>
            <a:endParaRPr lang="en-US" sz="14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C4845"/>
              </a:buClr>
              <a:buSzPts val="1400"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ecision Criteria:</a:t>
            </a:r>
          </a:p>
          <a:p>
            <a:pPr marL="274320" marR="0" lvl="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C4845"/>
              </a:buClr>
              <a:buSzPts val="1400"/>
            </a:pPr>
            <a:endParaRPr lang="en-US" sz="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1714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ost of </a:t>
            </a:r>
            <a:r>
              <a:rPr lang="en-US" sz="1200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he 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overage model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Quantified opportunity/potential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Span of control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iring/Backfill required </a:t>
            </a:r>
          </a:p>
          <a:p>
            <a:pPr marL="274320" marR="0" lvl="0" indent="-17145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isruption (employee and customer)</a:t>
            </a:r>
          </a:p>
          <a:p>
            <a:pPr marL="274320" marR="0" lvl="0" algn="l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C4845"/>
              </a:buClr>
              <a:buSzPts val="1400"/>
            </a:pPr>
            <a:endParaRPr lang="en-US" sz="1200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cxnSp>
        <p:nvCxnSpPr>
          <p:cNvPr id="13" name="Google Shape;584;p14">
            <a:extLst>
              <a:ext uri="{FF2B5EF4-FFF2-40B4-BE49-F238E27FC236}">
                <a16:creationId xmlns:a16="http://schemas.microsoft.com/office/drawing/2014/main" id="{60896955-ED24-9A2A-6F24-482E5BD51FCC}"/>
              </a:ext>
            </a:extLst>
          </p:cNvPr>
          <p:cNvCxnSpPr/>
          <p:nvPr/>
        </p:nvCxnSpPr>
        <p:spPr>
          <a:xfrm>
            <a:off x="4761998" y="3659856"/>
            <a:ext cx="6143357" cy="0"/>
          </a:xfrm>
          <a:prstGeom prst="straightConnector1">
            <a:avLst/>
          </a:prstGeom>
          <a:noFill/>
          <a:ln w="12700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" name="Google Shape;588;p14">
            <a:extLst>
              <a:ext uri="{FF2B5EF4-FFF2-40B4-BE49-F238E27FC236}">
                <a16:creationId xmlns:a16="http://schemas.microsoft.com/office/drawing/2014/main" id="{FB4F87ED-7B07-3397-7C10-67966D2E68B7}"/>
              </a:ext>
            </a:extLst>
          </p:cNvPr>
          <p:cNvGrpSpPr/>
          <p:nvPr/>
        </p:nvGrpSpPr>
        <p:grpSpPr>
          <a:xfrm>
            <a:off x="4084319" y="3945531"/>
            <a:ext cx="7498081" cy="1925184"/>
            <a:chOff x="3694987" y="4310516"/>
            <a:chExt cx="8382713" cy="1925184"/>
          </a:xfrm>
        </p:grpSpPr>
        <p:sp>
          <p:nvSpPr>
            <p:cNvPr id="15" name="Google Shape;589;p14">
              <a:extLst>
                <a:ext uri="{FF2B5EF4-FFF2-40B4-BE49-F238E27FC236}">
                  <a16:creationId xmlns:a16="http://schemas.microsoft.com/office/drawing/2014/main" id="{E038281F-3F8B-E230-06EC-8522DB855104}"/>
                </a:ext>
              </a:extLst>
            </p:cNvPr>
            <p:cNvSpPr/>
            <p:nvPr/>
          </p:nvSpPr>
          <p:spPr>
            <a:xfrm>
              <a:off x="3695700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Distribution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590;p14">
              <a:extLst>
                <a:ext uri="{FF2B5EF4-FFF2-40B4-BE49-F238E27FC236}">
                  <a16:creationId xmlns:a16="http://schemas.microsoft.com/office/drawing/2014/main" id="{D8A7CFE1-F801-F1D0-D774-4A30F93FEB1C}"/>
                </a:ext>
              </a:extLst>
            </p:cNvPr>
            <p:cNvSpPr/>
            <p:nvPr/>
          </p:nvSpPr>
          <p:spPr>
            <a:xfrm>
              <a:off x="4548592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Master Agents/SP</a:t>
              </a:r>
              <a:endParaRPr>
                <a:latin typeface="Avenir Next LT Pro"/>
              </a:endParaRPr>
            </a:p>
          </p:txBody>
        </p:sp>
        <p:sp>
          <p:nvSpPr>
            <p:cNvPr id="17" name="Google Shape;591;p14">
              <a:extLst>
                <a:ext uri="{FF2B5EF4-FFF2-40B4-BE49-F238E27FC236}">
                  <a16:creationId xmlns:a16="http://schemas.microsoft.com/office/drawing/2014/main" id="{B5DE152E-98F4-CE61-DE68-DB04F753AB88}"/>
                </a:ext>
              </a:extLst>
            </p:cNvPr>
            <p:cNvSpPr/>
            <p:nvPr/>
          </p:nvSpPr>
          <p:spPr>
            <a:xfrm>
              <a:off x="5401484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CX Manager</a:t>
              </a:r>
              <a:endParaRPr>
                <a:latin typeface="Avenir Next LT Pro"/>
              </a:endParaRPr>
            </a:p>
          </p:txBody>
        </p:sp>
        <p:sp>
          <p:nvSpPr>
            <p:cNvPr id="18" name="Google Shape;592;p14">
              <a:extLst>
                <a:ext uri="{FF2B5EF4-FFF2-40B4-BE49-F238E27FC236}">
                  <a16:creationId xmlns:a16="http://schemas.microsoft.com/office/drawing/2014/main" id="{6A80F266-B66E-A9BB-5B2A-A2785D7413A5}"/>
                </a:ext>
              </a:extLst>
            </p:cNvPr>
            <p:cNvSpPr/>
            <p:nvPr/>
          </p:nvSpPr>
          <p:spPr>
            <a:xfrm>
              <a:off x="6254377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SLED/HC West</a:t>
              </a:r>
              <a:endParaRPr>
                <a:latin typeface="Avenir Next LT Pro"/>
              </a:endParaRPr>
            </a:p>
          </p:txBody>
        </p:sp>
        <p:sp>
          <p:nvSpPr>
            <p:cNvPr id="19" name="Google Shape;593;p14">
              <a:extLst>
                <a:ext uri="{FF2B5EF4-FFF2-40B4-BE49-F238E27FC236}">
                  <a16:creationId xmlns:a16="http://schemas.microsoft.com/office/drawing/2014/main" id="{8CD68072-96E1-1AA1-7D4F-478005BBCC5F}"/>
                </a:ext>
              </a:extLst>
            </p:cNvPr>
            <p:cNvSpPr/>
            <p:nvPr/>
          </p:nvSpPr>
          <p:spPr>
            <a:xfrm>
              <a:off x="7107269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East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594;p14">
              <a:extLst>
                <a:ext uri="{FF2B5EF4-FFF2-40B4-BE49-F238E27FC236}">
                  <a16:creationId xmlns:a16="http://schemas.microsoft.com/office/drawing/2014/main" id="{22A7ED42-69EB-2A05-1255-717EB97B2D1B}"/>
                </a:ext>
              </a:extLst>
            </p:cNvPr>
            <p:cNvSpPr/>
            <p:nvPr/>
          </p:nvSpPr>
          <p:spPr>
            <a:xfrm>
              <a:off x="7960161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 dirty="0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SR Mgr</a:t>
              </a:r>
              <a:endParaRPr sz="500" b="1" dirty="0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595;p14">
              <a:extLst>
                <a:ext uri="{FF2B5EF4-FFF2-40B4-BE49-F238E27FC236}">
                  <a16:creationId xmlns:a16="http://schemas.microsoft.com/office/drawing/2014/main" id="{24B01353-56E4-FAD5-9AB3-E00FF1ABCE44}"/>
                </a:ext>
              </a:extLst>
            </p:cNvPr>
            <p:cNvSpPr/>
            <p:nvPr/>
          </p:nvSpPr>
          <p:spPr>
            <a:xfrm>
              <a:off x="8813053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Named </a:t>
              </a:r>
              <a:endParaRPr>
                <a:latin typeface="Avenir Next LT Pro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ccounts East</a:t>
              </a:r>
              <a:endParaRPr>
                <a:latin typeface="Avenir Next LT Pro"/>
              </a:endParaRPr>
            </a:p>
          </p:txBody>
        </p:sp>
        <p:sp>
          <p:nvSpPr>
            <p:cNvPr id="22" name="Google Shape;596;p14">
              <a:extLst>
                <a:ext uri="{FF2B5EF4-FFF2-40B4-BE49-F238E27FC236}">
                  <a16:creationId xmlns:a16="http://schemas.microsoft.com/office/drawing/2014/main" id="{AD518073-BF41-FB32-6E51-1E62FE0441C6}"/>
                </a:ext>
              </a:extLst>
            </p:cNvPr>
            <p:cNvSpPr/>
            <p:nvPr/>
          </p:nvSpPr>
          <p:spPr>
            <a:xfrm>
              <a:off x="9665946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Named </a:t>
              </a:r>
              <a:endParaRPr>
                <a:latin typeface="Avenir Next LT Pro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ccounts West</a:t>
              </a:r>
              <a:endParaRPr>
                <a:latin typeface="Avenir Next LT Pro"/>
              </a:endParaRPr>
            </a:p>
          </p:txBody>
        </p:sp>
        <p:sp>
          <p:nvSpPr>
            <p:cNvPr id="23" name="Google Shape;597;p14">
              <a:extLst>
                <a:ext uri="{FF2B5EF4-FFF2-40B4-BE49-F238E27FC236}">
                  <a16:creationId xmlns:a16="http://schemas.microsoft.com/office/drawing/2014/main" id="{49AF9D94-8453-27C6-2845-BB5FD6AD6DE8}"/>
                </a:ext>
              </a:extLst>
            </p:cNvPr>
            <p:cNvSpPr/>
            <p:nvPr/>
          </p:nvSpPr>
          <p:spPr>
            <a:xfrm>
              <a:off x="10518838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 dirty="0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CLoud</a:t>
              </a:r>
              <a:endParaRPr sz="500" b="1" dirty="0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598;p14">
              <a:extLst>
                <a:ext uri="{FF2B5EF4-FFF2-40B4-BE49-F238E27FC236}">
                  <a16:creationId xmlns:a16="http://schemas.microsoft.com/office/drawing/2014/main" id="{94A03E20-7A5C-C32B-FF93-F6B4C44A4B36}"/>
                </a:ext>
              </a:extLst>
            </p:cNvPr>
            <p:cNvSpPr/>
            <p:nvPr/>
          </p:nvSpPr>
          <p:spPr>
            <a:xfrm>
              <a:off x="11371732" y="4885905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Cloud SE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599;p14">
              <a:extLst>
                <a:ext uri="{FF2B5EF4-FFF2-40B4-BE49-F238E27FC236}">
                  <a16:creationId xmlns:a16="http://schemas.microsoft.com/office/drawing/2014/main" id="{A27F5903-AB82-46F7-D82C-1FBC37DCF318}"/>
                </a:ext>
              </a:extLst>
            </p:cNvPr>
            <p:cNvSpPr/>
            <p:nvPr/>
          </p:nvSpPr>
          <p:spPr>
            <a:xfrm>
              <a:off x="3694987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gent West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600;p14">
              <a:extLst>
                <a:ext uri="{FF2B5EF4-FFF2-40B4-BE49-F238E27FC236}">
                  <a16:creationId xmlns:a16="http://schemas.microsoft.com/office/drawing/2014/main" id="{3FAF6D72-165F-42A3-D145-B0416FD2F176}"/>
                </a:ext>
              </a:extLst>
            </p:cNvPr>
            <p:cNvSpPr/>
            <p:nvPr/>
          </p:nvSpPr>
          <p:spPr>
            <a:xfrm>
              <a:off x="4547879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gent Central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601;p14">
              <a:extLst>
                <a:ext uri="{FF2B5EF4-FFF2-40B4-BE49-F238E27FC236}">
                  <a16:creationId xmlns:a16="http://schemas.microsoft.com/office/drawing/2014/main" id="{DD9BA63F-0BC8-9853-8AA2-E1D1700EFC17}"/>
                </a:ext>
              </a:extLst>
            </p:cNvPr>
            <p:cNvSpPr/>
            <p:nvPr/>
          </p:nvSpPr>
          <p:spPr>
            <a:xfrm>
              <a:off x="3694987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gent East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602;p14">
              <a:extLst>
                <a:ext uri="{FF2B5EF4-FFF2-40B4-BE49-F238E27FC236}">
                  <a16:creationId xmlns:a16="http://schemas.microsoft.com/office/drawing/2014/main" id="{626DA3DA-2ECF-A929-23BB-6633E04ECAA5}"/>
                </a:ext>
              </a:extLst>
            </p:cNvPr>
            <p:cNvSpPr/>
            <p:nvPr/>
          </p:nvSpPr>
          <p:spPr>
            <a:xfrm>
              <a:off x="4547879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VAR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603;p14">
              <a:extLst>
                <a:ext uri="{FF2B5EF4-FFF2-40B4-BE49-F238E27FC236}">
                  <a16:creationId xmlns:a16="http://schemas.microsoft.com/office/drawing/2014/main" id="{7F0ECF72-FD3D-DF99-CCAC-0E7FCFEDD541}"/>
                </a:ext>
              </a:extLst>
            </p:cNvPr>
            <p:cNvSpPr/>
            <p:nvPr/>
          </p:nvSpPr>
          <p:spPr>
            <a:xfrm>
              <a:off x="4547879" y="5748989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VAR East</a:t>
              </a:r>
              <a:endParaRPr>
                <a:latin typeface="Avenir Next LT Pro"/>
              </a:endParaRPr>
            </a:p>
          </p:txBody>
        </p:sp>
        <p:sp>
          <p:nvSpPr>
            <p:cNvPr id="30" name="Google Shape;604;p14">
              <a:extLst>
                <a:ext uri="{FF2B5EF4-FFF2-40B4-BE49-F238E27FC236}">
                  <a16:creationId xmlns:a16="http://schemas.microsoft.com/office/drawing/2014/main" id="{6DDC211F-3D0E-7FEC-CECD-682392A1EC8C}"/>
                </a:ext>
              </a:extLst>
            </p:cNvPr>
            <p:cNvSpPr/>
            <p:nvPr/>
          </p:nvSpPr>
          <p:spPr>
            <a:xfrm>
              <a:off x="4547879" y="6036683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VAR West</a:t>
              </a:r>
              <a:endParaRPr>
                <a:latin typeface="Avenir Next LT Pro"/>
              </a:endParaRPr>
            </a:p>
          </p:txBody>
        </p:sp>
        <p:sp>
          <p:nvSpPr>
            <p:cNvPr id="31" name="Google Shape;605;p14">
              <a:extLst>
                <a:ext uri="{FF2B5EF4-FFF2-40B4-BE49-F238E27FC236}">
                  <a16:creationId xmlns:a16="http://schemas.microsoft.com/office/drawing/2014/main" id="{E94343FC-9834-0991-FAD3-DC029B7129C1}"/>
                </a:ext>
              </a:extLst>
            </p:cNvPr>
            <p:cNvSpPr/>
            <p:nvPr/>
          </p:nvSpPr>
          <p:spPr>
            <a:xfrm>
              <a:off x="6254377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SLED/HC East 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606;p14">
              <a:extLst>
                <a:ext uri="{FF2B5EF4-FFF2-40B4-BE49-F238E27FC236}">
                  <a16:creationId xmlns:a16="http://schemas.microsoft.com/office/drawing/2014/main" id="{78685C64-4B67-48B9-8962-EC0DE57F4825}"/>
                </a:ext>
              </a:extLst>
            </p:cNvPr>
            <p:cNvSpPr/>
            <p:nvPr/>
          </p:nvSpPr>
          <p:spPr>
            <a:xfrm>
              <a:off x="7107269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Central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607;p14">
              <a:extLst>
                <a:ext uri="{FF2B5EF4-FFF2-40B4-BE49-F238E27FC236}">
                  <a16:creationId xmlns:a16="http://schemas.microsoft.com/office/drawing/2014/main" id="{5917345E-A0CA-E3A0-4AFF-8FB796846DE3}"/>
                </a:ext>
              </a:extLst>
            </p:cNvPr>
            <p:cNvSpPr/>
            <p:nvPr/>
          </p:nvSpPr>
          <p:spPr>
            <a:xfrm>
              <a:off x="7107269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West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608;p14">
              <a:extLst>
                <a:ext uri="{FF2B5EF4-FFF2-40B4-BE49-F238E27FC236}">
                  <a16:creationId xmlns:a16="http://schemas.microsoft.com/office/drawing/2014/main" id="{45FFC8E2-FA0B-E022-1D68-45D869B37EF7}"/>
                </a:ext>
              </a:extLst>
            </p:cNvPr>
            <p:cNvSpPr/>
            <p:nvPr/>
          </p:nvSpPr>
          <p:spPr>
            <a:xfrm>
              <a:off x="7960161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 dirty="0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SR Mgr</a:t>
              </a:r>
              <a:endParaRPr lang="en-US" sz="500" b="1">
                <a:solidFill>
                  <a:schemeClr val="lt1"/>
                </a:solidFill>
                <a:latin typeface="Avenir Next LT Pro"/>
                <a:ea typeface="Calibri"/>
                <a:cs typeface="Calibri"/>
              </a:endParaRPr>
            </a:p>
          </p:txBody>
        </p:sp>
        <p:sp>
          <p:nvSpPr>
            <p:cNvPr id="35" name="Google Shape;609;p14">
              <a:extLst>
                <a:ext uri="{FF2B5EF4-FFF2-40B4-BE49-F238E27FC236}">
                  <a16:creationId xmlns:a16="http://schemas.microsoft.com/office/drawing/2014/main" id="{0B77ECF1-AEC3-A281-19E8-5E04DF6D93C1}"/>
                </a:ext>
              </a:extLst>
            </p:cNvPr>
            <p:cNvSpPr/>
            <p:nvPr/>
          </p:nvSpPr>
          <p:spPr>
            <a:xfrm>
              <a:off x="7960161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SR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610;p14">
              <a:extLst>
                <a:ext uri="{FF2B5EF4-FFF2-40B4-BE49-F238E27FC236}">
                  <a16:creationId xmlns:a16="http://schemas.microsoft.com/office/drawing/2014/main" id="{FE26D0F8-E571-930B-7214-E3E1FA5B62CD}"/>
                </a:ext>
              </a:extLst>
            </p:cNvPr>
            <p:cNvSpPr/>
            <p:nvPr/>
          </p:nvSpPr>
          <p:spPr>
            <a:xfrm>
              <a:off x="7960161" y="5748989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CAM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611;p14">
              <a:extLst>
                <a:ext uri="{FF2B5EF4-FFF2-40B4-BE49-F238E27FC236}">
                  <a16:creationId xmlns:a16="http://schemas.microsoft.com/office/drawing/2014/main" id="{2325DCB0-BDC5-ADFE-6E65-18021308E814}"/>
                </a:ext>
              </a:extLst>
            </p:cNvPr>
            <p:cNvSpPr/>
            <p:nvPr/>
          </p:nvSpPr>
          <p:spPr>
            <a:xfrm>
              <a:off x="10518838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OnPrem SE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612;p14">
              <a:extLst>
                <a:ext uri="{FF2B5EF4-FFF2-40B4-BE49-F238E27FC236}">
                  <a16:creationId xmlns:a16="http://schemas.microsoft.com/office/drawing/2014/main" id="{850A7C44-4FD7-7E72-A074-D176051BA84D}"/>
                </a:ext>
              </a:extLst>
            </p:cNvPr>
            <p:cNvSpPr/>
            <p:nvPr/>
          </p:nvSpPr>
          <p:spPr>
            <a:xfrm>
              <a:off x="10518838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nside OnPrem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613;p14">
              <a:extLst>
                <a:ext uri="{FF2B5EF4-FFF2-40B4-BE49-F238E27FC236}">
                  <a16:creationId xmlns:a16="http://schemas.microsoft.com/office/drawing/2014/main" id="{452F5514-1DF1-3745-FAA7-B1761D449CB6}"/>
                </a:ext>
              </a:extLst>
            </p:cNvPr>
            <p:cNvSpPr/>
            <p:nvPr/>
          </p:nvSpPr>
          <p:spPr>
            <a:xfrm>
              <a:off x="11371732" y="5173600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nside Cloud SE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614;p14">
              <a:extLst>
                <a:ext uri="{FF2B5EF4-FFF2-40B4-BE49-F238E27FC236}">
                  <a16:creationId xmlns:a16="http://schemas.microsoft.com/office/drawing/2014/main" id="{503F9504-8055-847E-13D4-198A5E8BFC61}"/>
                </a:ext>
              </a:extLst>
            </p:cNvPr>
            <p:cNvSpPr/>
            <p:nvPr/>
          </p:nvSpPr>
          <p:spPr>
            <a:xfrm>
              <a:off x="11371732" y="5461294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Advanced Tech </a:t>
              </a:r>
              <a:endParaRPr>
                <a:latin typeface="Avenir Next LT Pro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Ops</a:t>
              </a:r>
              <a:endParaRPr>
                <a:latin typeface="Avenir Next LT Pro"/>
              </a:endParaRPr>
            </a:p>
          </p:txBody>
        </p:sp>
        <p:sp>
          <p:nvSpPr>
            <p:cNvPr id="41" name="Google Shape;615;p14">
              <a:extLst>
                <a:ext uri="{FF2B5EF4-FFF2-40B4-BE49-F238E27FC236}">
                  <a16:creationId xmlns:a16="http://schemas.microsoft.com/office/drawing/2014/main" id="{FFF4F1FE-A31D-19B9-CD07-2D6E8189CDB2}"/>
                </a:ext>
              </a:extLst>
            </p:cNvPr>
            <p:cNvSpPr/>
            <p:nvPr/>
          </p:nvSpPr>
          <p:spPr>
            <a:xfrm>
              <a:off x="4122146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Channel</a:t>
              </a:r>
              <a:endParaRPr sz="5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616;p14">
              <a:extLst>
                <a:ext uri="{FF2B5EF4-FFF2-40B4-BE49-F238E27FC236}">
                  <a16:creationId xmlns:a16="http://schemas.microsoft.com/office/drawing/2014/main" id="{2A9FCAAF-030E-1414-D359-89F5D1DFAD9D}"/>
                </a:ext>
              </a:extLst>
            </p:cNvPr>
            <p:cNvSpPr/>
            <p:nvPr/>
          </p:nvSpPr>
          <p:spPr>
            <a:xfrm>
              <a:off x="5401484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Strategic </a:t>
              </a:r>
              <a:endParaRPr>
                <a:latin typeface="Avenir Next LT Pro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Partnerships</a:t>
              </a:r>
              <a:endParaRPr>
                <a:latin typeface="Avenir Next LT Pro"/>
              </a:endParaRPr>
            </a:p>
          </p:txBody>
        </p:sp>
        <p:sp>
          <p:nvSpPr>
            <p:cNvPr id="43" name="Google Shape;617;p14">
              <a:extLst>
                <a:ext uri="{FF2B5EF4-FFF2-40B4-BE49-F238E27FC236}">
                  <a16:creationId xmlns:a16="http://schemas.microsoft.com/office/drawing/2014/main" id="{D79EFC43-9001-7146-A33D-B9C6EDEDC0E1}"/>
                </a:ext>
              </a:extLst>
            </p:cNvPr>
            <p:cNvSpPr/>
            <p:nvPr/>
          </p:nvSpPr>
          <p:spPr>
            <a:xfrm>
              <a:off x="6254377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 Vertical Sales</a:t>
              </a:r>
              <a:endParaRPr>
                <a:latin typeface="Avenir Next LT Pro"/>
              </a:endParaRPr>
            </a:p>
          </p:txBody>
        </p:sp>
        <p:sp>
          <p:nvSpPr>
            <p:cNvPr id="44" name="Google Shape;618;p14">
              <a:extLst>
                <a:ext uri="{FF2B5EF4-FFF2-40B4-BE49-F238E27FC236}">
                  <a16:creationId xmlns:a16="http://schemas.microsoft.com/office/drawing/2014/main" id="{A18D28E9-BD61-D7B7-077B-8F25C4467805}"/>
                </a:ext>
              </a:extLst>
            </p:cNvPr>
            <p:cNvSpPr/>
            <p:nvPr/>
          </p:nvSpPr>
          <p:spPr>
            <a:xfrm>
              <a:off x="7107269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Field Sales</a:t>
              </a:r>
              <a:endParaRPr>
                <a:latin typeface="Avenir Next LT Pro"/>
              </a:endParaRPr>
            </a:p>
          </p:txBody>
        </p:sp>
        <p:sp>
          <p:nvSpPr>
            <p:cNvPr id="45" name="Google Shape;619;p14">
              <a:extLst>
                <a:ext uri="{FF2B5EF4-FFF2-40B4-BE49-F238E27FC236}">
                  <a16:creationId xmlns:a16="http://schemas.microsoft.com/office/drawing/2014/main" id="{C6037634-FF2C-EFF3-02FF-DFCE38A5DFEE}"/>
                </a:ext>
              </a:extLst>
            </p:cNvPr>
            <p:cNvSpPr/>
            <p:nvPr/>
          </p:nvSpPr>
          <p:spPr>
            <a:xfrm>
              <a:off x="7960161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Inside Sales COE</a:t>
              </a:r>
              <a:endParaRPr>
                <a:latin typeface="Avenir Next LT Pro"/>
              </a:endParaRPr>
            </a:p>
          </p:txBody>
        </p:sp>
        <p:sp>
          <p:nvSpPr>
            <p:cNvPr id="46" name="Google Shape;620;p14">
              <a:extLst>
                <a:ext uri="{FF2B5EF4-FFF2-40B4-BE49-F238E27FC236}">
                  <a16:creationId xmlns:a16="http://schemas.microsoft.com/office/drawing/2014/main" id="{3ACA3658-F9F2-F4B1-AB5E-A780F5904640}"/>
                </a:ext>
              </a:extLst>
            </p:cNvPr>
            <p:cNvSpPr/>
            <p:nvPr/>
          </p:nvSpPr>
          <p:spPr>
            <a:xfrm>
              <a:off x="10945285" y="4598211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Technical Sales</a:t>
              </a:r>
              <a:endParaRPr>
                <a:latin typeface="Avenir Next LT Pro"/>
              </a:endParaRPr>
            </a:p>
          </p:txBody>
        </p:sp>
        <p:sp>
          <p:nvSpPr>
            <p:cNvPr id="47" name="Google Shape;621;p14">
              <a:extLst>
                <a:ext uri="{FF2B5EF4-FFF2-40B4-BE49-F238E27FC236}">
                  <a16:creationId xmlns:a16="http://schemas.microsoft.com/office/drawing/2014/main" id="{D8E82677-5BB7-FBCA-88B5-3AF6926AF9D5}"/>
                </a:ext>
              </a:extLst>
            </p:cNvPr>
            <p:cNvSpPr/>
            <p:nvPr/>
          </p:nvSpPr>
          <p:spPr>
            <a:xfrm>
              <a:off x="7533716" y="4310516"/>
              <a:ext cx="705968" cy="199017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500"/>
                <a:buFont typeface="Calibri"/>
                <a:buNone/>
              </a:pPr>
              <a:r>
                <a:rPr lang="en-US" sz="500" b="1">
                  <a:solidFill>
                    <a:schemeClr val="lt1"/>
                  </a:solidFill>
                  <a:latin typeface="Avenir Next LT Pro"/>
                  <a:ea typeface="Calibri"/>
                  <a:cs typeface="Calibri"/>
                  <a:sym typeface="Calibri"/>
                </a:rPr>
                <a:t>VP</a:t>
              </a:r>
              <a:endParaRPr>
                <a:latin typeface="Avenir Next LT Pro"/>
              </a:endParaRPr>
            </a:p>
          </p:txBody>
        </p:sp>
        <p:cxnSp>
          <p:nvCxnSpPr>
            <p:cNvPr id="48" name="Google Shape;622;p14">
              <a:extLst>
                <a:ext uri="{FF2B5EF4-FFF2-40B4-BE49-F238E27FC236}">
                  <a16:creationId xmlns:a16="http://schemas.microsoft.com/office/drawing/2014/main" id="{C4D9AEF7-6F26-1387-D7AA-D6F62DCFE7D7}"/>
                </a:ext>
              </a:extLst>
            </p:cNvPr>
            <p:cNvCxnSpPr>
              <a:stCxn id="41" idx="2"/>
              <a:endCxn id="15" idx="3"/>
            </p:cNvCxnSpPr>
            <p:nvPr/>
          </p:nvCxnSpPr>
          <p:spPr>
            <a:xfrm rot="5400000">
              <a:off x="4344330" y="4854528"/>
              <a:ext cx="1881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9" name="Google Shape;623;p14">
              <a:extLst>
                <a:ext uri="{FF2B5EF4-FFF2-40B4-BE49-F238E27FC236}">
                  <a16:creationId xmlns:a16="http://schemas.microsoft.com/office/drawing/2014/main" id="{B8FC937F-BFE4-CEDC-DB4C-D3EB937F5E47}"/>
                </a:ext>
              </a:extLst>
            </p:cNvPr>
            <p:cNvCxnSpPr>
              <a:stCxn id="41" idx="2"/>
              <a:endCxn id="16" idx="1"/>
            </p:cNvCxnSpPr>
            <p:nvPr/>
          </p:nvCxnSpPr>
          <p:spPr>
            <a:xfrm rot="-5400000" flipH="1">
              <a:off x="4417830" y="4854528"/>
              <a:ext cx="1881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0" name="Google Shape;624;p14">
              <a:extLst>
                <a:ext uri="{FF2B5EF4-FFF2-40B4-BE49-F238E27FC236}">
                  <a16:creationId xmlns:a16="http://schemas.microsoft.com/office/drawing/2014/main" id="{A53BF3F8-9608-14A5-C019-97B186EB553D}"/>
                </a:ext>
              </a:extLst>
            </p:cNvPr>
            <p:cNvCxnSpPr>
              <a:stCxn id="41" idx="2"/>
              <a:endCxn id="25" idx="3"/>
            </p:cNvCxnSpPr>
            <p:nvPr/>
          </p:nvCxnSpPr>
          <p:spPr>
            <a:xfrm rot="5400000">
              <a:off x="4200180" y="4998078"/>
              <a:ext cx="475800" cy="741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" name="Google Shape;625;p14">
              <a:extLst>
                <a:ext uri="{FF2B5EF4-FFF2-40B4-BE49-F238E27FC236}">
                  <a16:creationId xmlns:a16="http://schemas.microsoft.com/office/drawing/2014/main" id="{C856D652-DBB2-A193-C321-85C778CCD830}"/>
                </a:ext>
              </a:extLst>
            </p:cNvPr>
            <p:cNvCxnSpPr>
              <a:stCxn id="41" idx="2"/>
              <a:endCxn id="26" idx="1"/>
            </p:cNvCxnSpPr>
            <p:nvPr/>
          </p:nvCxnSpPr>
          <p:spPr>
            <a:xfrm rot="-5400000" flipH="1">
              <a:off x="4273530" y="4998828"/>
              <a:ext cx="475800" cy="726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" name="Google Shape;626;p14">
              <a:extLst>
                <a:ext uri="{FF2B5EF4-FFF2-40B4-BE49-F238E27FC236}">
                  <a16:creationId xmlns:a16="http://schemas.microsoft.com/office/drawing/2014/main" id="{47B536C6-2BCE-059B-6975-AA83166C2C7C}"/>
                </a:ext>
              </a:extLst>
            </p:cNvPr>
            <p:cNvCxnSpPr>
              <a:stCxn id="41" idx="2"/>
              <a:endCxn id="27" idx="3"/>
            </p:cNvCxnSpPr>
            <p:nvPr/>
          </p:nvCxnSpPr>
          <p:spPr>
            <a:xfrm rot="5400000">
              <a:off x="4056330" y="5141928"/>
              <a:ext cx="763500" cy="741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3" name="Google Shape;627;p14">
              <a:extLst>
                <a:ext uri="{FF2B5EF4-FFF2-40B4-BE49-F238E27FC236}">
                  <a16:creationId xmlns:a16="http://schemas.microsoft.com/office/drawing/2014/main" id="{98049AA1-3033-929F-D7FF-385A80EE5360}"/>
                </a:ext>
              </a:extLst>
            </p:cNvPr>
            <p:cNvCxnSpPr>
              <a:stCxn id="41" idx="2"/>
              <a:endCxn id="28" idx="1"/>
            </p:cNvCxnSpPr>
            <p:nvPr/>
          </p:nvCxnSpPr>
          <p:spPr>
            <a:xfrm rot="-5400000" flipH="1">
              <a:off x="4129680" y="5142678"/>
              <a:ext cx="763500" cy="726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" name="Google Shape;628;p14">
              <a:extLst>
                <a:ext uri="{FF2B5EF4-FFF2-40B4-BE49-F238E27FC236}">
                  <a16:creationId xmlns:a16="http://schemas.microsoft.com/office/drawing/2014/main" id="{F86FF955-577B-9366-AC4F-66AE7552DA05}"/>
                </a:ext>
              </a:extLst>
            </p:cNvPr>
            <p:cNvCxnSpPr>
              <a:cxnSpLocks/>
              <a:stCxn id="29" idx="3"/>
            </p:cNvCxnSpPr>
            <p:nvPr/>
          </p:nvCxnSpPr>
          <p:spPr>
            <a:xfrm flipV="1">
              <a:off x="5253847" y="5848497"/>
              <a:ext cx="89270" cy="1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" name="Google Shape;629;p14">
              <a:extLst>
                <a:ext uri="{FF2B5EF4-FFF2-40B4-BE49-F238E27FC236}">
                  <a16:creationId xmlns:a16="http://schemas.microsoft.com/office/drawing/2014/main" id="{417E8482-826D-0D03-4C89-26A6067212ED}"/>
                </a:ext>
              </a:extLst>
            </p:cNvPr>
            <p:cNvCxnSpPr>
              <a:stCxn id="28" idx="3"/>
              <a:endCxn id="30" idx="3"/>
            </p:cNvCxnSpPr>
            <p:nvPr/>
          </p:nvCxnSpPr>
          <p:spPr>
            <a:xfrm>
              <a:off x="5253847" y="5560803"/>
              <a:ext cx="600" cy="575400"/>
            </a:xfrm>
            <a:prstGeom prst="bentConnector3">
              <a:avLst>
                <a:gd name="adj1" fmla="val 13157356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" name="Google Shape;630;p14">
              <a:extLst>
                <a:ext uri="{FF2B5EF4-FFF2-40B4-BE49-F238E27FC236}">
                  <a16:creationId xmlns:a16="http://schemas.microsoft.com/office/drawing/2014/main" id="{7F8DD07E-1B5A-B002-9DBB-27DAEA6BB00B}"/>
                </a:ext>
              </a:extLst>
            </p:cNvPr>
            <p:cNvCxnSpPr>
              <a:stCxn id="42" idx="2"/>
              <a:endCxn id="17" idx="0"/>
            </p:cNvCxnSpPr>
            <p:nvPr/>
          </p:nvCxnSpPr>
          <p:spPr>
            <a:xfrm>
              <a:off x="5754468" y="4797228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7" name="Google Shape;631;p14">
              <a:extLst>
                <a:ext uri="{FF2B5EF4-FFF2-40B4-BE49-F238E27FC236}">
                  <a16:creationId xmlns:a16="http://schemas.microsoft.com/office/drawing/2014/main" id="{E52FF9C4-6628-24D8-D488-EBA5011FB3F5}"/>
                </a:ext>
              </a:extLst>
            </p:cNvPr>
            <p:cNvCxnSpPr>
              <a:stCxn id="43" idx="2"/>
              <a:endCxn id="18" idx="0"/>
            </p:cNvCxnSpPr>
            <p:nvPr/>
          </p:nvCxnSpPr>
          <p:spPr>
            <a:xfrm>
              <a:off x="6607361" y="4797228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8" name="Google Shape;632;p14">
              <a:extLst>
                <a:ext uri="{FF2B5EF4-FFF2-40B4-BE49-F238E27FC236}">
                  <a16:creationId xmlns:a16="http://schemas.microsoft.com/office/drawing/2014/main" id="{9DF43EA9-5833-5352-C43C-E20EE38F0178}"/>
                </a:ext>
              </a:extLst>
            </p:cNvPr>
            <p:cNvCxnSpPr>
              <a:stCxn id="18" idx="2"/>
              <a:endCxn id="31" idx="0"/>
            </p:cNvCxnSpPr>
            <p:nvPr/>
          </p:nvCxnSpPr>
          <p:spPr>
            <a:xfrm>
              <a:off x="6607361" y="5084922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9" name="Google Shape;633;p14">
              <a:extLst>
                <a:ext uri="{FF2B5EF4-FFF2-40B4-BE49-F238E27FC236}">
                  <a16:creationId xmlns:a16="http://schemas.microsoft.com/office/drawing/2014/main" id="{A9DB87A2-2254-CF13-BE6B-E33945DF12E1}"/>
                </a:ext>
              </a:extLst>
            </p:cNvPr>
            <p:cNvCxnSpPr>
              <a:stCxn id="44" idx="2"/>
              <a:endCxn id="19" idx="0"/>
            </p:cNvCxnSpPr>
            <p:nvPr/>
          </p:nvCxnSpPr>
          <p:spPr>
            <a:xfrm>
              <a:off x="7460253" y="4797228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0" name="Google Shape;634;p14">
              <a:extLst>
                <a:ext uri="{FF2B5EF4-FFF2-40B4-BE49-F238E27FC236}">
                  <a16:creationId xmlns:a16="http://schemas.microsoft.com/office/drawing/2014/main" id="{487B47A4-3D80-2D4F-7A90-B25363D33311}"/>
                </a:ext>
              </a:extLst>
            </p:cNvPr>
            <p:cNvCxnSpPr>
              <a:stCxn id="19" idx="2"/>
              <a:endCxn id="32" idx="0"/>
            </p:cNvCxnSpPr>
            <p:nvPr/>
          </p:nvCxnSpPr>
          <p:spPr>
            <a:xfrm>
              <a:off x="7460253" y="5084922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1" name="Google Shape;635;p14">
              <a:extLst>
                <a:ext uri="{FF2B5EF4-FFF2-40B4-BE49-F238E27FC236}">
                  <a16:creationId xmlns:a16="http://schemas.microsoft.com/office/drawing/2014/main" id="{D5DFD776-AF93-56B5-EA61-D1433D5251B7}"/>
                </a:ext>
              </a:extLst>
            </p:cNvPr>
            <p:cNvCxnSpPr>
              <a:stCxn id="32" idx="2"/>
              <a:endCxn id="33" idx="0"/>
            </p:cNvCxnSpPr>
            <p:nvPr/>
          </p:nvCxnSpPr>
          <p:spPr>
            <a:xfrm>
              <a:off x="7460253" y="5372617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2" name="Google Shape;636;p14">
              <a:extLst>
                <a:ext uri="{FF2B5EF4-FFF2-40B4-BE49-F238E27FC236}">
                  <a16:creationId xmlns:a16="http://schemas.microsoft.com/office/drawing/2014/main" id="{94115CFD-3620-E066-8E10-C64105FC38E9}"/>
                </a:ext>
              </a:extLst>
            </p:cNvPr>
            <p:cNvCxnSpPr>
              <a:stCxn id="45" idx="2"/>
              <a:endCxn id="20" idx="0"/>
            </p:cNvCxnSpPr>
            <p:nvPr/>
          </p:nvCxnSpPr>
          <p:spPr>
            <a:xfrm>
              <a:off x="8313145" y="4797228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3" name="Google Shape;637;p14">
              <a:extLst>
                <a:ext uri="{FF2B5EF4-FFF2-40B4-BE49-F238E27FC236}">
                  <a16:creationId xmlns:a16="http://schemas.microsoft.com/office/drawing/2014/main" id="{DEBFFA6B-669A-D18E-ADC1-7742D35F7B31}"/>
                </a:ext>
              </a:extLst>
            </p:cNvPr>
            <p:cNvCxnSpPr>
              <a:stCxn id="20" idx="2"/>
              <a:endCxn id="34" idx="0"/>
            </p:cNvCxnSpPr>
            <p:nvPr/>
          </p:nvCxnSpPr>
          <p:spPr>
            <a:xfrm>
              <a:off x="8313145" y="5084922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2" name="Google Shape;638;p14">
              <a:extLst>
                <a:ext uri="{FF2B5EF4-FFF2-40B4-BE49-F238E27FC236}">
                  <a16:creationId xmlns:a16="http://schemas.microsoft.com/office/drawing/2014/main" id="{6D141F87-C0FE-9CE3-A9AB-2F29242BA4AB}"/>
                </a:ext>
              </a:extLst>
            </p:cNvPr>
            <p:cNvCxnSpPr>
              <a:stCxn id="34" idx="2"/>
              <a:endCxn id="35" idx="0"/>
            </p:cNvCxnSpPr>
            <p:nvPr/>
          </p:nvCxnSpPr>
          <p:spPr>
            <a:xfrm>
              <a:off x="8313145" y="5372617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3" name="Google Shape;639;p14">
              <a:extLst>
                <a:ext uri="{FF2B5EF4-FFF2-40B4-BE49-F238E27FC236}">
                  <a16:creationId xmlns:a16="http://schemas.microsoft.com/office/drawing/2014/main" id="{883A663F-CC75-1B07-91E3-D6A1E2F60492}"/>
                </a:ext>
              </a:extLst>
            </p:cNvPr>
            <p:cNvCxnSpPr>
              <a:stCxn id="35" idx="2"/>
              <a:endCxn id="36" idx="0"/>
            </p:cNvCxnSpPr>
            <p:nvPr/>
          </p:nvCxnSpPr>
          <p:spPr>
            <a:xfrm>
              <a:off x="8313145" y="5660311"/>
              <a:ext cx="0" cy="8880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4" name="Google Shape;640;p14">
              <a:extLst>
                <a:ext uri="{FF2B5EF4-FFF2-40B4-BE49-F238E27FC236}">
                  <a16:creationId xmlns:a16="http://schemas.microsoft.com/office/drawing/2014/main" id="{4FAD00C7-5A68-A337-A0CB-E2D193B981F7}"/>
                </a:ext>
              </a:extLst>
            </p:cNvPr>
            <p:cNvCxnSpPr>
              <a:stCxn id="46" idx="2"/>
              <a:endCxn id="23" idx="3"/>
            </p:cNvCxnSpPr>
            <p:nvPr/>
          </p:nvCxnSpPr>
          <p:spPr>
            <a:xfrm rot="5400000">
              <a:off x="11167469" y="4854528"/>
              <a:ext cx="1881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5" name="Google Shape;641;p14">
              <a:extLst>
                <a:ext uri="{FF2B5EF4-FFF2-40B4-BE49-F238E27FC236}">
                  <a16:creationId xmlns:a16="http://schemas.microsoft.com/office/drawing/2014/main" id="{2396A2AA-FF33-27ED-CEBB-83D10EC96A34}"/>
                </a:ext>
              </a:extLst>
            </p:cNvPr>
            <p:cNvCxnSpPr>
              <a:stCxn id="46" idx="2"/>
              <a:endCxn id="24" idx="1"/>
            </p:cNvCxnSpPr>
            <p:nvPr/>
          </p:nvCxnSpPr>
          <p:spPr>
            <a:xfrm rot="-5400000" flipH="1">
              <a:off x="11240969" y="4854528"/>
              <a:ext cx="1881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19" name="Google Shape;642;p14">
              <a:extLst>
                <a:ext uri="{FF2B5EF4-FFF2-40B4-BE49-F238E27FC236}">
                  <a16:creationId xmlns:a16="http://schemas.microsoft.com/office/drawing/2014/main" id="{9E4E3FA2-5E27-8242-E915-54F6E783153F}"/>
                </a:ext>
              </a:extLst>
            </p:cNvPr>
            <p:cNvCxnSpPr>
              <a:stCxn id="46" idx="2"/>
              <a:endCxn id="37" idx="3"/>
            </p:cNvCxnSpPr>
            <p:nvPr/>
          </p:nvCxnSpPr>
          <p:spPr>
            <a:xfrm rot="5400000">
              <a:off x="11023619" y="4998378"/>
              <a:ext cx="4758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2" name="Google Shape;643;p14">
              <a:extLst>
                <a:ext uri="{FF2B5EF4-FFF2-40B4-BE49-F238E27FC236}">
                  <a16:creationId xmlns:a16="http://schemas.microsoft.com/office/drawing/2014/main" id="{5E786FE7-D8F8-5B19-935F-5F5563BB6DB9}"/>
                </a:ext>
              </a:extLst>
            </p:cNvPr>
            <p:cNvCxnSpPr>
              <a:stCxn id="46" idx="2"/>
              <a:endCxn id="39" idx="1"/>
            </p:cNvCxnSpPr>
            <p:nvPr/>
          </p:nvCxnSpPr>
          <p:spPr>
            <a:xfrm rot="-5400000" flipH="1">
              <a:off x="11097119" y="4998378"/>
              <a:ext cx="4758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3" name="Google Shape;644;p14">
              <a:extLst>
                <a:ext uri="{FF2B5EF4-FFF2-40B4-BE49-F238E27FC236}">
                  <a16:creationId xmlns:a16="http://schemas.microsoft.com/office/drawing/2014/main" id="{C7E14CA8-42B1-CDB3-B830-2BCCECF7CD8F}"/>
                </a:ext>
              </a:extLst>
            </p:cNvPr>
            <p:cNvCxnSpPr>
              <a:stCxn id="46" idx="2"/>
              <a:endCxn id="38" idx="3"/>
            </p:cNvCxnSpPr>
            <p:nvPr/>
          </p:nvCxnSpPr>
          <p:spPr>
            <a:xfrm rot="5400000">
              <a:off x="10879769" y="5142228"/>
              <a:ext cx="7635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4" name="Google Shape;645;p14">
              <a:extLst>
                <a:ext uri="{FF2B5EF4-FFF2-40B4-BE49-F238E27FC236}">
                  <a16:creationId xmlns:a16="http://schemas.microsoft.com/office/drawing/2014/main" id="{14611275-1772-7E0D-E373-0381619AEDF4}"/>
                </a:ext>
              </a:extLst>
            </p:cNvPr>
            <p:cNvCxnSpPr>
              <a:stCxn id="46" idx="2"/>
              <a:endCxn id="40" idx="1"/>
            </p:cNvCxnSpPr>
            <p:nvPr/>
          </p:nvCxnSpPr>
          <p:spPr>
            <a:xfrm rot="-5400000" flipH="1">
              <a:off x="10953269" y="5142228"/>
              <a:ext cx="763500" cy="73500"/>
            </a:xfrm>
            <a:prstGeom prst="bentConnector2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5" name="Google Shape;646;p14">
              <a:extLst>
                <a:ext uri="{FF2B5EF4-FFF2-40B4-BE49-F238E27FC236}">
                  <a16:creationId xmlns:a16="http://schemas.microsoft.com/office/drawing/2014/main" id="{1479FAE0-3F02-18B2-7606-67454027EF37}"/>
                </a:ext>
              </a:extLst>
            </p:cNvPr>
            <p:cNvCxnSpPr>
              <a:stCxn id="47" idx="2"/>
              <a:endCxn id="41" idx="0"/>
            </p:cNvCxnSpPr>
            <p:nvPr/>
          </p:nvCxnSpPr>
          <p:spPr>
            <a:xfrm rot="5400000">
              <a:off x="6136500" y="2848133"/>
              <a:ext cx="88800" cy="34116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6" name="Google Shape;647;p14">
              <a:extLst>
                <a:ext uri="{FF2B5EF4-FFF2-40B4-BE49-F238E27FC236}">
                  <a16:creationId xmlns:a16="http://schemas.microsoft.com/office/drawing/2014/main" id="{DE80C3F3-E20F-A1B7-878D-057E0621EDD1}"/>
                </a:ext>
              </a:extLst>
            </p:cNvPr>
            <p:cNvCxnSpPr>
              <a:stCxn id="47" idx="2"/>
              <a:endCxn id="42" idx="0"/>
            </p:cNvCxnSpPr>
            <p:nvPr/>
          </p:nvCxnSpPr>
          <p:spPr>
            <a:xfrm rot="5400000">
              <a:off x="6776250" y="3487883"/>
              <a:ext cx="88800" cy="21321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7" name="Google Shape;648;p14">
              <a:extLst>
                <a:ext uri="{FF2B5EF4-FFF2-40B4-BE49-F238E27FC236}">
                  <a16:creationId xmlns:a16="http://schemas.microsoft.com/office/drawing/2014/main" id="{3263E60D-673F-2104-1E71-E604A31C6384}"/>
                </a:ext>
              </a:extLst>
            </p:cNvPr>
            <p:cNvCxnSpPr>
              <a:stCxn id="47" idx="2"/>
              <a:endCxn id="43" idx="0"/>
            </p:cNvCxnSpPr>
            <p:nvPr/>
          </p:nvCxnSpPr>
          <p:spPr>
            <a:xfrm rot="5400000">
              <a:off x="7202700" y="3914333"/>
              <a:ext cx="88800" cy="12792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8" name="Google Shape;649;p14">
              <a:extLst>
                <a:ext uri="{FF2B5EF4-FFF2-40B4-BE49-F238E27FC236}">
                  <a16:creationId xmlns:a16="http://schemas.microsoft.com/office/drawing/2014/main" id="{BD12E33F-283A-7FC0-2EBC-B7F0B3C4EE3D}"/>
                </a:ext>
              </a:extLst>
            </p:cNvPr>
            <p:cNvCxnSpPr>
              <a:stCxn id="47" idx="2"/>
              <a:endCxn id="44" idx="0"/>
            </p:cNvCxnSpPr>
            <p:nvPr/>
          </p:nvCxnSpPr>
          <p:spPr>
            <a:xfrm rot="5400000">
              <a:off x="7629150" y="4340783"/>
              <a:ext cx="88800" cy="4263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9" name="Google Shape;650;p14">
              <a:extLst>
                <a:ext uri="{FF2B5EF4-FFF2-40B4-BE49-F238E27FC236}">
                  <a16:creationId xmlns:a16="http://schemas.microsoft.com/office/drawing/2014/main" id="{3430F040-B1CF-2F53-1AA5-EB7A16AEAB9B}"/>
                </a:ext>
              </a:extLst>
            </p:cNvPr>
            <p:cNvCxnSpPr>
              <a:stCxn id="47" idx="2"/>
              <a:endCxn id="45" idx="0"/>
            </p:cNvCxnSpPr>
            <p:nvPr/>
          </p:nvCxnSpPr>
          <p:spPr>
            <a:xfrm rot="-5400000" flipH="1">
              <a:off x="8055450" y="4340783"/>
              <a:ext cx="88800" cy="4263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30" name="Google Shape;651;p14">
              <a:extLst>
                <a:ext uri="{FF2B5EF4-FFF2-40B4-BE49-F238E27FC236}">
                  <a16:creationId xmlns:a16="http://schemas.microsoft.com/office/drawing/2014/main" id="{0D983D26-5DA6-C3C4-DF82-03CA2FA6432F}"/>
                </a:ext>
              </a:extLst>
            </p:cNvPr>
            <p:cNvCxnSpPr>
              <a:stCxn id="47" idx="2"/>
              <a:endCxn id="22" idx="0"/>
            </p:cNvCxnSpPr>
            <p:nvPr/>
          </p:nvCxnSpPr>
          <p:spPr>
            <a:xfrm rot="-5400000" flipH="1">
              <a:off x="8908350" y="3487883"/>
              <a:ext cx="88800" cy="21321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31" name="Google Shape;652;p14">
              <a:extLst>
                <a:ext uri="{FF2B5EF4-FFF2-40B4-BE49-F238E27FC236}">
                  <a16:creationId xmlns:a16="http://schemas.microsoft.com/office/drawing/2014/main" id="{101E7367-D717-DA6B-B085-E74EDE58C89F}"/>
                </a:ext>
              </a:extLst>
            </p:cNvPr>
            <p:cNvCxnSpPr>
              <a:stCxn id="47" idx="2"/>
              <a:endCxn id="46" idx="0"/>
            </p:cNvCxnSpPr>
            <p:nvPr/>
          </p:nvCxnSpPr>
          <p:spPr>
            <a:xfrm rot="-5400000" flipH="1">
              <a:off x="9548100" y="2848133"/>
              <a:ext cx="88800" cy="341160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532" name="Google Shape;653;p14">
            <a:extLst>
              <a:ext uri="{FF2B5EF4-FFF2-40B4-BE49-F238E27FC236}">
                <a16:creationId xmlns:a16="http://schemas.microsoft.com/office/drawing/2014/main" id="{1E44031D-EFB8-A583-A264-1B9697A2A8EB}"/>
              </a:ext>
            </a:extLst>
          </p:cNvPr>
          <p:cNvSpPr/>
          <p:nvPr/>
        </p:nvSpPr>
        <p:spPr>
          <a:xfrm>
            <a:off x="4761998" y="1982560"/>
            <a:ext cx="1714805" cy="147828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3" name="Google Shape;654;p14">
            <a:extLst>
              <a:ext uri="{FF2B5EF4-FFF2-40B4-BE49-F238E27FC236}">
                <a16:creationId xmlns:a16="http://schemas.microsoft.com/office/drawing/2014/main" id="{DE35D294-129A-13A2-30ED-E33E533AAAE1}"/>
              </a:ext>
            </a:extLst>
          </p:cNvPr>
          <p:cNvSpPr/>
          <p:nvPr/>
        </p:nvSpPr>
        <p:spPr>
          <a:xfrm>
            <a:off x="6976275" y="1982560"/>
            <a:ext cx="1714805" cy="147828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4" name="Google Shape;655;p14">
            <a:extLst>
              <a:ext uri="{FF2B5EF4-FFF2-40B4-BE49-F238E27FC236}">
                <a16:creationId xmlns:a16="http://schemas.microsoft.com/office/drawing/2014/main" id="{BB5D4D9D-5F27-D84E-6B00-1BD547C015A0}"/>
              </a:ext>
            </a:extLst>
          </p:cNvPr>
          <p:cNvSpPr/>
          <p:nvPr/>
        </p:nvSpPr>
        <p:spPr>
          <a:xfrm>
            <a:off x="9190551" y="1982560"/>
            <a:ext cx="1714805" cy="147828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5" name="Google Shape;656;p14">
            <a:extLst>
              <a:ext uri="{FF2B5EF4-FFF2-40B4-BE49-F238E27FC236}">
                <a16:creationId xmlns:a16="http://schemas.microsoft.com/office/drawing/2014/main" id="{1F7B0F5D-867F-F761-7518-6E2C6DF8ED91}"/>
              </a:ext>
            </a:extLst>
          </p:cNvPr>
          <p:cNvSpPr/>
          <p:nvPr/>
        </p:nvSpPr>
        <p:spPr>
          <a:xfrm>
            <a:off x="5190700" y="1982560"/>
            <a:ext cx="857402" cy="739140"/>
          </a:xfrm>
          <a:custGeom>
            <a:avLst/>
            <a:gdLst/>
            <a:ahLst/>
            <a:cxnLst/>
            <a:rect l="l" t="t" r="r" b="b"/>
            <a:pathLst>
              <a:path w="857402" h="739140" extrusionOk="0">
                <a:moveTo>
                  <a:pt x="428701" y="0"/>
                </a:moveTo>
                <a:lnTo>
                  <a:pt x="857402" y="739140"/>
                </a:lnTo>
                <a:lnTo>
                  <a:pt x="0" y="7391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6" name="Google Shape;657;p14">
            <a:extLst>
              <a:ext uri="{FF2B5EF4-FFF2-40B4-BE49-F238E27FC236}">
                <a16:creationId xmlns:a16="http://schemas.microsoft.com/office/drawing/2014/main" id="{3A700DD6-0CDE-F4E6-5FCB-3F790A20129D}"/>
              </a:ext>
            </a:extLst>
          </p:cNvPr>
          <p:cNvSpPr/>
          <p:nvPr/>
        </p:nvSpPr>
        <p:spPr>
          <a:xfrm>
            <a:off x="7183997" y="1982560"/>
            <a:ext cx="1299362" cy="1120140"/>
          </a:xfrm>
          <a:custGeom>
            <a:avLst/>
            <a:gdLst/>
            <a:ahLst/>
            <a:cxnLst/>
            <a:rect l="l" t="t" r="r" b="b"/>
            <a:pathLst>
              <a:path w="1299362" h="1120140" extrusionOk="0">
                <a:moveTo>
                  <a:pt x="649681" y="0"/>
                </a:moveTo>
                <a:lnTo>
                  <a:pt x="1299362" y="1120140"/>
                </a:lnTo>
                <a:lnTo>
                  <a:pt x="0" y="11201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7" name="Google Shape;658;p14">
            <a:extLst>
              <a:ext uri="{FF2B5EF4-FFF2-40B4-BE49-F238E27FC236}">
                <a16:creationId xmlns:a16="http://schemas.microsoft.com/office/drawing/2014/main" id="{37F9CF8B-F5BD-49ED-1AB7-6FC4A516F31D}"/>
              </a:ext>
            </a:extLst>
          </p:cNvPr>
          <p:cNvSpPr/>
          <p:nvPr/>
        </p:nvSpPr>
        <p:spPr>
          <a:xfrm>
            <a:off x="7833679" y="1982560"/>
            <a:ext cx="649681" cy="1120140"/>
          </a:xfrm>
          <a:custGeom>
            <a:avLst/>
            <a:gdLst/>
            <a:ahLst/>
            <a:cxnLst/>
            <a:rect l="l" t="t" r="r" b="b"/>
            <a:pathLst>
              <a:path w="649681" h="1120140" extrusionOk="0">
                <a:moveTo>
                  <a:pt x="0" y="0"/>
                </a:moveTo>
                <a:lnTo>
                  <a:pt x="649681" y="1120140"/>
                </a:lnTo>
                <a:lnTo>
                  <a:pt x="0" y="11201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8" name="Google Shape;659;p14">
            <a:extLst>
              <a:ext uri="{FF2B5EF4-FFF2-40B4-BE49-F238E27FC236}">
                <a16:creationId xmlns:a16="http://schemas.microsoft.com/office/drawing/2014/main" id="{A63C9307-4E25-CB80-977B-0A1BF9255AE9}"/>
              </a:ext>
            </a:extLst>
          </p:cNvPr>
          <p:cNvSpPr/>
          <p:nvPr/>
        </p:nvSpPr>
        <p:spPr>
          <a:xfrm>
            <a:off x="9619252" y="1982560"/>
            <a:ext cx="857402" cy="739140"/>
          </a:xfrm>
          <a:custGeom>
            <a:avLst/>
            <a:gdLst/>
            <a:ahLst/>
            <a:cxnLst/>
            <a:rect l="l" t="t" r="r" b="b"/>
            <a:pathLst>
              <a:path w="857402" h="739140" extrusionOk="0">
                <a:moveTo>
                  <a:pt x="428701" y="0"/>
                </a:moveTo>
                <a:lnTo>
                  <a:pt x="857402" y="739140"/>
                </a:lnTo>
                <a:lnTo>
                  <a:pt x="0" y="7391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2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39" name="Google Shape;660;p14">
            <a:extLst>
              <a:ext uri="{FF2B5EF4-FFF2-40B4-BE49-F238E27FC236}">
                <a16:creationId xmlns:a16="http://schemas.microsoft.com/office/drawing/2014/main" id="{3B6655F3-9D6E-BB6D-98BC-6811BDC14406}"/>
              </a:ext>
            </a:extLst>
          </p:cNvPr>
          <p:cNvSpPr/>
          <p:nvPr/>
        </p:nvSpPr>
        <p:spPr>
          <a:xfrm>
            <a:off x="5329971" y="2299535"/>
            <a:ext cx="571665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CAM</a:t>
            </a:r>
            <a:endParaRPr sz="600" b="1" dirty="0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0" name="Google Shape;661;p14">
            <a:extLst>
              <a:ext uri="{FF2B5EF4-FFF2-40B4-BE49-F238E27FC236}">
                <a16:creationId xmlns:a16="http://schemas.microsoft.com/office/drawing/2014/main" id="{D2AC51AA-E887-55FB-B5A8-5BA4D4BFBCDC}"/>
              </a:ext>
            </a:extLst>
          </p:cNvPr>
          <p:cNvSpPr/>
          <p:nvPr/>
        </p:nvSpPr>
        <p:spPr>
          <a:xfrm>
            <a:off x="5329971" y="3004841"/>
            <a:ext cx="599737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iCAM</a:t>
            </a:r>
            <a:endParaRPr sz="600" b="1" dirty="0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1" name="Google Shape;662;p14">
            <a:extLst>
              <a:ext uri="{FF2B5EF4-FFF2-40B4-BE49-F238E27FC236}">
                <a16:creationId xmlns:a16="http://schemas.microsoft.com/office/drawing/2014/main" id="{22073B85-43C6-3CA1-D60C-A625A057411F}"/>
              </a:ext>
            </a:extLst>
          </p:cNvPr>
          <p:cNvSpPr/>
          <p:nvPr/>
        </p:nvSpPr>
        <p:spPr>
          <a:xfrm>
            <a:off x="7069898" y="2585374"/>
            <a:ext cx="670157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Vertical</a:t>
            </a:r>
            <a:endParaRPr sz="600" b="1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2" name="Google Shape;663;p14">
            <a:extLst>
              <a:ext uri="{FF2B5EF4-FFF2-40B4-BE49-F238E27FC236}">
                <a16:creationId xmlns:a16="http://schemas.microsoft.com/office/drawing/2014/main" id="{D42F5472-41D6-FDFE-2C79-3FE417B0A7B8}"/>
              </a:ext>
            </a:extLst>
          </p:cNvPr>
          <p:cNvSpPr/>
          <p:nvPr/>
        </p:nvSpPr>
        <p:spPr>
          <a:xfrm>
            <a:off x="7909202" y="2585374"/>
            <a:ext cx="676087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Field</a:t>
            </a:r>
            <a:endParaRPr sz="600" b="1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3" name="Google Shape;664;p14">
            <a:extLst>
              <a:ext uri="{FF2B5EF4-FFF2-40B4-BE49-F238E27FC236}">
                <a16:creationId xmlns:a16="http://schemas.microsoft.com/office/drawing/2014/main" id="{733F611B-7803-8424-A1F5-FD59D3AC51AC}"/>
              </a:ext>
            </a:extLst>
          </p:cNvPr>
          <p:cNvSpPr/>
          <p:nvPr/>
        </p:nvSpPr>
        <p:spPr>
          <a:xfrm>
            <a:off x="7466389" y="3167783"/>
            <a:ext cx="734577" cy="2524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Inside</a:t>
            </a:r>
            <a:endParaRPr sz="600" b="1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4" name="Google Shape;665;p14">
            <a:extLst>
              <a:ext uri="{FF2B5EF4-FFF2-40B4-BE49-F238E27FC236}">
                <a16:creationId xmlns:a16="http://schemas.microsoft.com/office/drawing/2014/main" id="{360B9370-90AB-2864-5FF2-C20D2198F29B}"/>
              </a:ext>
            </a:extLst>
          </p:cNvPr>
          <p:cNvSpPr/>
          <p:nvPr/>
        </p:nvSpPr>
        <p:spPr>
          <a:xfrm>
            <a:off x="9471624" y="2299535"/>
            <a:ext cx="1152661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Named Account</a:t>
            </a:r>
            <a:endParaRPr sz="600" b="1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5" name="Google Shape;666;p14">
            <a:extLst>
              <a:ext uri="{FF2B5EF4-FFF2-40B4-BE49-F238E27FC236}">
                <a16:creationId xmlns:a16="http://schemas.microsoft.com/office/drawing/2014/main" id="{4A8282C5-F76A-3337-8A80-8297B1201743}"/>
              </a:ext>
            </a:extLst>
          </p:cNvPr>
          <p:cNvSpPr/>
          <p:nvPr/>
        </p:nvSpPr>
        <p:spPr>
          <a:xfrm>
            <a:off x="9381855" y="3004091"/>
            <a:ext cx="1332197" cy="2419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8000" tIns="36000" rIns="108000" bIns="3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Avenir Next LT Pro"/>
                <a:ea typeface="Calibri"/>
                <a:cs typeface="Calibri"/>
                <a:sym typeface="Calibri"/>
              </a:rPr>
              <a:t>Customer Success*</a:t>
            </a:r>
            <a:endParaRPr sz="600" b="1">
              <a:solidFill>
                <a:schemeClr val="lt1"/>
              </a:solidFill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546" name="Google Shape;667;p14">
            <a:extLst>
              <a:ext uri="{FF2B5EF4-FFF2-40B4-BE49-F238E27FC236}">
                <a16:creationId xmlns:a16="http://schemas.microsoft.com/office/drawing/2014/main" id="{D8C8AE94-9DE5-4A8C-4F4C-B428C5871FF0}"/>
              </a:ext>
            </a:extLst>
          </p:cNvPr>
          <p:cNvSpPr txBox="1"/>
          <p:nvPr/>
        </p:nvSpPr>
        <p:spPr>
          <a:xfrm>
            <a:off x="4628443" y="1278962"/>
            <a:ext cx="1981914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Partner Coverage</a:t>
            </a:r>
            <a:endParaRPr sz="2000" dirty="0">
              <a:solidFill>
                <a:schemeClr val="dk1"/>
              </a:solidFill>
              <a:latin typeface="Avenir Next LT Pro"/>
            </a:endParaRPr>
          </a:p>
          <a:p>
            <a:pPr algn="ctr">
              <a:spcBef>
                <a:spcPts val="600"/>
              </a:spcBef>
            </a:pPr>
            <a:r>
              <a:rPr lang="en-US" sz="800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Partner split by ROAD thresholds </a:t>
            </a:r>
            <a:br>
              <a:rPr lang="en-US" sz="800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</a:br>
            <a:r>
              <a:rPr lang="en-US" sz="800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to align to iCAMs or CAMs</a:t>
            </a:r>
            <a:endParaRPr dirty="0">
              <a:solidFill>
                <a:schemeClr val="dk1"/>
              </a:solidFill>
              <a:latin typeface="Avenir Next LT Pro"/>
            </a:endParaRPr>
          </a:p>
        </p:txBody>
      </p:sp>
      <p:sp>
        <p:nvSpPr>
          <p:cNvPr id="547" name="Google Shape;668;p14">
            <a:extLst>
              <a:ext uri="{FF2B5EF4-FFF2-40B4-BE49-F238E27FC236}">
                <a16:creationId xmlns:a16="http://schemas.microsoft.com/office/drawing/2014/main" id="{9AD6C748-06AF-B863-DC47-543B71074114}"/>
              </a:ext>
            </a:extLst>
          </p:cNvPr>
          <p:cNvSpPr txBox="1"/>
          <p:nvPr/>
        </p:nvSpPr>
        <p:spPr>
          <a:xfrm>
            <a:off x="6842721" y="1278962"/>
            <a:ext cx="1981914" cy="630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Opportunity Coverage</a:t>
            </a:r>
            <a:endParaRPr sz="2000" dirty="0">
              <a:latin typeface="Avenir Next LT Pro"/>
            </a:endParaRPr>
          </a:p>
          <a:p>
            <a:pPr marL="0" marR="0" lvl="0" indent="0" algn="ctr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Opportunities split by ROAD and/or Industry thresholds to align to TAMs/Inside/Vertical</a:t>
            </a:r>
            <a:endParaRPr dirty="0">
              <a:latin typeface="Avenir Next LT Pro"/>
            </a:endParaRPr>
          </a:p>
        </p:txBody>
      </p:sp>
      <p:sp>
        <p:nvSpPr>
          <p:cNvPr id="548" name="Google Shape;669;p14">
            <a:extLst>
              <a:ext uri="{FF2B5EF4-FFF2-40B4-BE49-F238E27FC236}">
                <a16:creationId xmlns:a16="http://schemas.microsoft.com/office/drawing/2014/main" id="{6C58ABB8-6CA6-0219-B99B-EE68EB685030}"/>
              </a:ext>
            </a:extLst>
          </p:cNvPr>
          <p:cNvSpPr txBox="1"/>
          <p:nvPr/>
        </p:nvSpPr>
        <p:spPr>
          <a:xfrm>
            <a:off x="9056997" y="1278962"/>
            <a:ext cx="1981914" cy="630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Customer Coverage</a:t>
            </a:r>
            <a:endParaRPr sz="2000" dirty="0">
              <a:latin typeface="Avenir Next LT Pro"/>
            </a:endParaRPr>
          </a:p>
          <a:p>
            <a:pPr marL="0" marR="0" lvl="0" indent="0" algn="ctr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Customer split by strategic Named Accounts or verticals and resourced by potential</a:t>
            </a:r>
            <a:endParaRPr dirty="0">
              <a:latin typeface="Avenir Next LT Pro"/>
            </a:endParaRPr>
          </a:p>
        </p:txBody>
      </p:sp>
      <p:sp>
        <p:nvSpPr>
          <p:cNvPr id="549" name="Google Shape;670;p14">
            <a:extLst>
              <a:ext uri="{FF2B5EF4-FFF2-40B4-BE49-F238E27FC236}">
                <a16:creationId xmlns:a16="http://schemas.microsoft.com/office/drawing/2014/main" id="{48365E3D-8830-5FC5-5D16-A40972C98E36}"/>
              </a:ext>
            </a:extLst>
          </p:cNvPr>
          <p:cNvSpPr txBox="1"/>
          <p:nvPr/>
        </p:nvSpPr>
        <p:spPr>
          <a:xfrm>
            <a:off x="7088800" y="3582912"/>
            <a:ext cx="1489759" cy="12311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dk1"/>
                </a:solidFill>
                <a:latin typeface="Avenir Next LT Pro"/>
                <a:ea typeface="Calibri"/>
                <a:cs typeface="Calibri"/>
                <a:sym typeface="Calibri"/>
              </a:rPr>
              <a:t>SEs to cover across models</a:t>
            </a:r>
            <a:endParaRPr sz="1100" dirty="0">
              <a:latin typeface="Avenir Next LT Pro"/>
            </a:endParaRPr>
          </a:p>
        </p:txBody>
      </p:sp>
      <p:sp>
        <p:nvSpPr>
          <p:cNvPr id="578" name="Google Shape;374;p2">
            <a:extLst>
              <a:ext uri="{FF2B5EF4-FFF2-40B4-BE49-F238E27FC236}">
                <a16:creationId xmlns:a16="http://schemas.microsoft.com/office/drawing/2014/main" id="{8C972991-BA8F-E6C1-C424-E06D12833D84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775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1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609599" y="1237536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896840"/>
            <a:ext cx="3017520" cy="3200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apacity model uses </a:t>
            </a:r>
            <a: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RM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inputs to establish estimated sales productivity</a:t>
            </a:r>
            <a:b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Rep expected selling time (Use Rep Time Study)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Expected hours spent per opportunity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verage win rate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verage deal size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On-target earnings</a:t>
            </a: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Output provides estimate for optimal sales productivity numbers</a:t>
            </a:r>
            <a:b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Note: Average data can be individualized/customized as better data about territory potential becomes available</a:t>
            </a: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ata from sales rep capacity model forms basis for territory headcount model</a:t>
            </a: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Build a Rep Productivity Capacity Model to calculate ideal rep capacity and determine the right number of reps </a:t>
            </a: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for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 your sales organization.</a:t>
            </a:r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6</a:t>
            </a:fld>
            <a:endParaRPr dirty="0"/>
          </a:p>
        </p:txBody>
      </p:sp>
      <p:sp>
        <p:nvSpPr>
          <p:cNvPr id="521" name="Google Shape;521;p38"/>
          <p:cNvSpPr/>
          <p:nvPr/>
        </p:nvSpPr>
        <p:spPr>
          <a:xfrm>
            <a:off x="4115683" y="1263929"/>
            <a:ext cx="7315200" cy="229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 dirty="0">
                <a:latin typeface="Avenir"/>
                <a:ea typeface="Avenir"/>
                <a:cs typeface="Avenir"/>
                <a:sym typeface="Avenir"/>
              </a:rPr>
              <a:t>A</a:t>
            </a:r>
            <a:r>
              <a:rPr lang="en-US" sz="1200" i="1" u="none" strike="noStrike" cap="none" dirty="0">
                <a:latin typeface="Avenir"/>
                <a:ea typeface="Avenir"/>
                <a:cs typeface="Avenir"/>
                <a:sym typeface="Avenir"/>
              </a:rPr>
              <a:t>n illustrative rep capacity model for a field account executive and a VAR channel account manager.</a:t>
            </a:r>
            <a:endParaRPr lang="en-US" sz="1600" i="1" dirty="0"/>
          </a:p>
        </p:txBody>
      </p:sp>
      <p:sp>
        <p:nvSpPr>
          <p:cNvPr id="560" name="Google Shape;560;p38"/>
          <p:cNvSpPr/>
          <p:nvPr/>
        </p:nvSpPr>
        <p:spPr>
          <a:xfrm>
            <a:off x="701039" y="137884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ing a Capacity Model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75296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63" name="Google Shape;563;p38"/>
          <p:cNvGrpSpPr/>
          <p:nvPr/>
        </p:nvGrpSpPr>
        <p:grpSpPr>
          <a:xfrm>
            <a:off x="785442" y="3503694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6" name="Google Shape;566;p38"/>
          <p:cNvGrpSpPr/>
          <p:nvPr/>
        </p:nvGrpSpPr>
        <p:grpSpPr>
          <a:xfrm>
            <a:off x="761117" y="1922166"/>
            <a:ext cx="133350" cy="133350"/>
            <a:chOff x="266700" y="2733860"/>
            <a:chExt cx="133350" cy="133350"/>
          </a:xfrm>
        </p:grpSpPr>
        <p:sp>
          <p:nvSpPr>
            <p:cNvPr id="567" name="Google Shape;567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9" name="Google Shape;569;p38"/>
          <p:cNvGrpSpPr/>
          <p:nvPr/>
        </p:nvGrpSpPr>
        <p:grpSpPr>
          <a:xfrm>
            <a:off x="785442" y="4736179"/>
            <a:ext cx="133350" cy="133350"/>
            <a:chOff x="266700" y="2733860"/>
            <a:chExt cx="133350" cy="133350"/>
          </a:xfrm>
        </p:grpSpPr>
        <p:sp>
          <p:nvSpPr>
            <p:cNvPr id="570" name="Google Shape;570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cxnSp>
        <p:nvCxnSpPr>
          <p:cNvPr id="572" name="Google Shape;572;p38"/>
          <p:cNvCxnSpPr>
            <a:cxnSpLocks/>
          </p:cNvCxnSpPr>
          <p:nvPr/>
        </p:nvCxnSpPr>
        <p:spPr>
          <a:xfrm flipH="1" flipV="1">
            <a:off x="-202674" y="3081391"/>
            <a:ext cx="26700" cy="21876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" name="Google Shape;374;p2">
            <a:extLst>
              <a:ext uri="{FF2B5EF4-FFF2-40B4-BE49-F238E27FC236}">
                <a16:creationId xmlns:a16="http://schemas.microsoft.com/office/drawing/2014/main" id="{DA0A032B-F170-3652-3F4F-CA83935520B3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FAC1CE-2ADF-3BDC-2FF8-5207F15844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5683" y="1597120"/>
            <a:ext cx="7315200" cy="413366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5875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768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609599" y="1140256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Develop a Headcount Cost Model to understand whether you need to hire more reps or increase rep productivity.</a:t>
            </a:r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521" name="Google Shape;521;p38"/>
          <p:cNvSpPr/>
          <p:nvPr/>
        </p:nvSpPr>
        <p:spPr>
          <a:xfrm>
            <a:off x="4277060" y="1308573"/>
            <a:ext cx="4750637" cy="161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itle</a:t>
            </a:r>
            <a:endParaRPr dirty="0"/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ing a Headcount Cost Model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63" name="Google Shape;563;p38"/>
          <p:cNvGrpSpPr/>
          <p:nvPr/>
        </p:nvGrpSpPr>
        <p:grpSpPr>
          <a:xfrm>
            <a:off x="785442" y="1849240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9" name="Google Shape;569;p38"/>
          <p:cNvGrpSpPr/>
          <p:nvPr/>
        </p:nvGrpSpPr>
        <p:grpSpPr>
          <a:xfrm>
            <a:off x="785442" y="3252231"/>
            <a:ext cx="133350" cy="133350"/>
            <a:chOff x="266700" y="2733860"/>
            <a:chExt cx="133350" cy="133350"/>
          </a:xfrm>
        </p:grpSpPr>
        <p:sp>
          <p:nvSpPr>
            <p:cNvPr id="570" name="Google Shape;570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3017520" cy="28469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Decisions Needed:</a:t>
            </a:r>
            <a:b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ow many people are needed for the </a:t>
            </a:r>
            <a:b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future state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ow many people from the current team will make the transition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ow many new heads are going to be required</a:t>
            </a: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hings to consider:</a:t>
            </a:r>
            <a:b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endParaRPr lang="en-US" sz="12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 model for both current and new positions 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 separate model or inputs for different geographies </a:t>
            </a:r>
          </a:p>
          <a:p>
            <a:pPr marL="27432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istinguish cost model between routes to market (Direct vs channel, field vs inside)</a:t>
            </a:r>
          </a:p>
        </p:txBody>
      </p:sp>
      <p:sp>
        <p:nvSpPr>
          <p:cNvPr id="6" name="Google Shape;374;p2">
            <a:extLst>
              <a:ext uri="{FF2B5EF4-FFF2-40B4-BE49-F238E27FC236}">
                <a16:creationId xmlns:a16="http://schemas.microsoft.com/office/drawing/2014/main" id="{3EE86CE7-E459-E6BE-EFC2-8B04BB7F7764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79FEF-C24F-DF25-FBDA-DA88AC20C5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1439" y="1140256"/>
            <a:ext cx="5486400" cy="4232884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ACCC8F3-56AE-75F7-D4C4-25FDBE02BA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20158" y="1656207"/>
            <a:ext cx="5486400" cy="4150581"/>
          </a:xfrm>
          <a:prstGeom prst="rect">
            <a:avLst/>
          </a:prstGeom>
          <a:ln w="127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60032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EA7279-E06F-0EB6-03ED-4179669B4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18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A7279-E06F-0EB6-03ED-4179669B4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806;p79">
            <a:extLst>
              <a:ext uri="{FF2B5EF4-FFF2-40B4-BE49-F238E27FC236}">
                <a16:creationId xmlns:a16="http://schemas.microsoft.com/office/drawing/2014/main" id="{B7833843-7938-CA94-00EC-E34722F32F0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8</a:t>
            </a:fld>
            <a:endParaRPr dirty="0"/>
          </a:p>
        </p:txBody>
      </p:sp>
      <p:sp>
        <p:nvSpPr>
          <p:cNvPr id="12" name="Google Shape;374;p2">
            <a:extLst>
              <a:ext uri="{FF2B5EF4-FFF2-40B4-BE49-F238E27FC236}">
                <a16:creationId xmlns:a16="http://schemas.microsoft.com/office/drawing/2014/main" id="{566BF76F-66D8-7D37-F6FE-BD08EB9F5BED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61" name="Picture 560">
            <a:extLst>
              <a:ext uri="{FF2B5EF4-FFF2-40B4-BE49-F238E27FC236}">
                <a16:creationId xmlns:a16="http://schemas.microsoft.com/office/drawing/2014/main" id="{5F661C79-4EDC-FFA7-BC62-28EF418D15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908" y="885937"/>
            <a:ext cx="10250184" cy="5344069"/>
          </a:xfrm>
          <a:prstGeom prst="rect">
            <a:avLst/>
          </a:prstGeom>
        </p:spPr>
      </p:pic>
      <p:sp>
        <p:nvSpPr>
          <p:cNvPr id="562" name="Google Shape;517;p38">
            <a:extLst>
              <a:ext uri="{FF2B5EF4-FFF2-40B4-BE49-F238E27FC236}">
                <a16:creationId xmlns:a16="http://schemas.microsoft.com/office/drawing/2014/main" id="{458CCC3C-3D6E-9EF8-FB9D-F36B56FC6AB0}"/>
              </a:ext>
            </a:extLst>
          </p:cNvPr>
          <p:cNvSpPr txBox="1">
            <a:spLocks/>
          </p:cNvSpPr>
          <p:nvPr/>
        </p:nvSpPr>
        <p:spPr>
          <a:xfrm>
            <a:off x="609600" y="294023"/>
            <a:ext cx="10939272" cy="38470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45700" rtlCol="0" anchor="t" anchorCtr="0">
            <a:sp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lnSpc>
                <a:spcPct val="100000"/>
              </a:lnSpc>
            </a:pP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Choose the right design for your sales organization from seven proven model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6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/>
              <a:t>Schedule a session with your advisor</a:t>
            </a:r>
          </a:p>
          <a:p>
            <a:r>
              <a:rPr lang="en-US"/>
              <a:t>SBI Advisors help clients with practical advice, whether strategic or surgically tactical, to drive revenue and growth. </a:t>
            </a:r>
          </a:p>
          <a:p>
            <a:r>
              <a:rPr lang="en-US"/>
              <a:t>Contact your advisor to schedule a work session and tune this guidance to your situation.</a:t>
            </a:r>
          </a:p>
          <a:p>
            <a:endParaRPr lang="en-US"/>
          </a:p>
          <a:p>
            <a:r>
              <a:rPr lang="en-US" b="1"/>
              <a:t>Login to SBI Pro:</a:t>
            </a:r>
          </a:p>
          <a:p>
            <a:r>
              <a:rPr lang="en-US">
                <a:hlinkClick r:id="rId2"/>
              </a:rPr>
              <a:t>https://pro.sbigrowth.com/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4.54840487658100123269E+00&quot;&gt;&lt;m_msothmcolidx val=&quot;0&quot;/&gt;&lt;m_rgb r=&quot;03&quot; g=&quot;32&quot; b=&quot;7C&quot;/&gt;&lt;/elem&gt;&lt;elem m_fUsage=&quot;1.40037780609000050980E+00&quot;&gt;&lt;m_msothmcolidx val=&quot;0&quot;/&gt;&lt;m_rgb r=&quot;23&quot; g=&quot;91&quot; b=&quot;CF&quot;/&gt;&lt;/elem&gt;&lt;elem m_fUsage=&quot;1.17304807183290038530E+00&quot;&gt;&lt;m_msothmcolidx val=&quot;0&quot;/&gt;&lt;m_rgb r=&quot;07&quot; g=&quot;1E&quot; b=&quot;31&quot;/&gt;&lt;/elem&gt;&lt;elem m_fUsage=&quot;9.46475767391648403759E-01&quot;&gt;&lt;m_msothmcolidx val=&quot;0&quot;/&gt;&lt;m_rgb r=&quot;44&quot; g=&quot;72&quot; b=&quot;C4&quot;/&gt;&lt;/elem&gt;&lt;elem m_fUsage=&quot;5.16430446976356205546E-01&quot;&gt;&lt;m_msothmcolidx val=&quot;0&quot;/&gt;&lt;m_rgb r=&quot;5B&quot; g=&quot;9B&quot; b=&quot;D5&quot;/&gt;&lt;/elem&gt;&lt;elem m_fUsage=&quot;3.52073835881849872553E-01&quot;&gt;&lt;m_msothmcolidx val=&quot;0&quot;/&gt;&lt;m_rgb r=&quot;A5&quot; g=&quot;A5&quot; b=&quot;A5&quot;/&gt;&lt;/elem&gt;&lt;elem m_fUsage=&quot;1.86187473482836096661E-01&quot;&gt;&lt;m_msothmcolidx val=&quot;0&quot;/&gt;&lt;m_rgb r=&quot;44&quot; g=&quot;76&quot; b=&quot;C4&quot;/&gt;&lt;/elem&gt;&lt;elem m_fUsage=&quot;1.35085171767299283552E-01&quot;&gt;&lt;m_msothmcolidx val=&quot;0&quot;/&gt;&lt;m_rgb r=&quot;44&quot; g=&quot;72&quot; b=&quot;C6&quot;/&gt;&lt;/elem&gt;&lt;elem m_fUsage=&quot;8.86293811965250810658E-02&quot;&gt;&lt;m_msothmcolidx val=&quot;0&quot;/&gt;&lt;m_rgb r=&quot;0A&quot; g=&quot;AF&quot; b=&quot;26&quot;/&gt;&lt;/elem&gt;&lt;elem m_fUsage=&quot;7.17897987691853145531E-02&quot;&gt;&lt;m_msothmcolidx val=&quot;0&quot;/&gt;&lt;m_rgb r=&quot;5B&quot; g=&quot;73&quot; b=&quot;F8&quot;/&gt;&lt;/elem&gt;&lt;elem m_fUsage=&quot;5.81497370030401097840E-02&quot;&gt;&lt;m_msothmcolidx val=&quot;0&quot;/&gt;&lt;m_rgb r=&quot;44&quot; g=&quot;76&quot; b=&quot;A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A83F2E70-BF86-4B3C-A400-182C8B18B041}" vid="{126A12BA-5E73-4D61-B2BA-3985E4FD8DE2}"/>
    </a:ext>
  </a:extLst>
</a:theme>
</file>

<file path=ppt/theme/theme2.xml><?xml version="1.0" encoding="utf-8"?>
<a:theme xmlns:a="http://schemas.openxmlformats.org/drawingml/2006/main" name="1_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4" ma:contentTypeDescription="Create a new document." ma:contentTypeScope="" ma:versionID="3d557a90f4d64ddfe2d3d576b0cd8d36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4763c1e418e199e061edc34360a609c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b0eac3-55b5-4ee4-ade7-be65d09c5d6e">
      <Terms xmlns="http://schemas.microsoft.com/office/infopath/2007/PartnerControls"/>
    </lcf76f155ced4ddcb4097134ff3c332f>
    <TaxCatchAll xmlns="b71745fe-8e84-41ad-935b-7c5d8babdf9e" xsi:nil="true"/>
    <SharedWithUsers xmlns="b71745fe-8e84-41ad-935b-7c5d8babdf9e">
      <UserInfo>
        <DisplayName>Bryan Kurey</DisplayName>
        <AccountId>10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A68F437-8AA9-47BC-B85C-A9E5EB9DBB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FF02371-59E9-4794-A309-1230D3CDB2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E149B9-5EA8-451D-AB87-506AD7A7F572}">
  <ds:schemaRefs>
    <ds:schemaRef ds:uri="http://www.w3.org/XML/1998/namespace"/>
    <ds:schemaRef ds:uri="http://schemas.microsoft.com/office/2006/documentManagement/types"/>
    <ds:schemaRef ds:uri="162cfcd4-8cf0-4e82-80c5-9e43bd7d75c8"/>
    <ds:schemaRef ds:uri="http://purl.org/dc/dcmitype/"/>
    <ds:schemaRef ds:uri="8cb45e2b-cabf-4cc0-9f00-e72f0b447b06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3b0eac3-55b5-4ee4-ade7-be65d09c5d6e"/>
    <ds:schemaRef ds:uri="b71745fe-8e84-41ad-935b-7c5d8babdf9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1</TotalTime>
  <Words>1130</Words>
  <Application>Microsoft Office PowerPoint</Application>
  <PresentationFormat>Widescreen</PresentationFormat>
  <Paragraphs>178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Calibri</vt:lpstr>
      <vt:lpstr>Courier New</vt:lpstr>
      <vt:lpstr>Avenir</vt:lpstr>
      <vt:lpstr>Avenir Next LT Pro</vt:lpstr>
      <vt:lpstr>Arial</vt:lpstr>
      <vt:lpstr>SBI PPT</vt:lpstr>
      <vt:lpstr>1_SBI PPT</vt:lpstr>
      <vt:lpstr>think-cell Slide</vt:lpstr>
      <vt:lpstr>Sales Coverage &amp; Organization Design Primer</vt:lpstr>
      <vt:lpstr>Sales Coverage &amp; Organization Design projects follow a five-step process to develop an integrated coverage strategy &amp; build an effective sales organization. Step 6 is implementation.</vt:lpstr>
      <vt:lpstr>Establish a fact base for sales coverage decisions using customer and rep surveys, and a thorough review of 2– 3 years of financial performance. </vt:lpstr>
      <vt:lpstr>Use the output from Account Segmentation as a foundation to determine optimal routes to market for each customer segment. </vt:lpstr>
      <vt:lpstr>Develop a coverage strategy to strategically deploy resources against market opportunity, drive rep productivity and maximize selling time.</vt:lpstr>
      <vt:lpstr>Build a Rep Productivity Capacity Model to calculate ideal rep capacity and determine the right number of reps for your sales organization.</vt:lpstr>
      <vt:lpstr>Develop a Headcount Cost Model to understand whether you need to hire more reps or increase rep productivity.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Steps to Growth Readiness in 2023</dc:title>
  <dc:creator>Juliet Flynn</dc:creator>
  <cp:lastModifiedBy>Dave Lingebach</cp:lastModifiedBy>
  <cp:revision>3</cp:revision>
  <dcterms:created xsi:type="dcterms:W3CDTF">2021-09-29T22:21:40Z</dcterms:created>
  <dcterms:modified xsi:type="dcterms:W3CDTF">2024-01-28T20:4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00</vt:r8>
  </property>
  <property fmtid="{D5CDD505-2E9C-101B-9397-08002B2CF9AE}" pid="3" name="MediaServiceImageTags">
    <vt:lpwstr/>
  </property>
  <property fmtid="{D5CDD505-2E9C-101B-9397-08002B2CF9AE}" pid="4" name="ContentTypeId">
    <vt:lpwstr>0x0101002745970336D75C4CAB2ECCCE65268DD7</vt:lpwstr>
  </property>
</Properties>
</file>